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1"/>
  </p:sldMasterIdLst>
  <p:notesMasterIdLst>
    <p:notesMasterId r:id="rId34"/>
  </p:notesMasterIdLst>
  <p:handoutMasterIdLst>
    <p:handoutMasterId r:id="rId35"/>
  </p:handoutMasterIdLst>
  <p:sldIdLst>
    <p:sldId id="301" r:id="rId2"/>
    <p:sldId id="504" r:id="rId3"/>
    <p:sldId id="724" r:id="rId4"/>
    <p:sldId id="464" r:id="rId5"/>
    <p:sldId id="2401" r:id="rId6"/>
    <p:sldId id="2402" r:id="rId7"/>
    <p:sldId id="2403" r:id="rId8"/>
    <p:sldId id="303" r:id="rId9"/>
    <p:sldId id="2406" r:id="rId10"/>
    <p:sldId id="2404" r:id="rId11"/>
    <p:sldId id="2405" r:id="rId12"/>
    <p:sldId id="2408" r:id="rId13"/>
    <p:sldId id="2409" r:id="rId14"/>
    <p:sldId id="734" r:id="rId15"/>
    <p:sldId id="735" r:id="rId16"/>
    <p:sldId id="736" r:id="rId17"/>
    <p:sldId id="737" r:id="rId18"/>
    <p:sldId id="738" r:id="rId19"/>
    <p:sldId id="739" r:id="rId20"/>
    <p:sldId id="740" r:id="rId21"/>
    <p:sldId id="332" r:id="rId22"/>
    <p:sldId id="741" r:id="rId23"/>
    <p:sldId id="742" r:id="rId24"/>
    <p:sldId id="743" r:id="rId25"/>
    <p:sldId id="2410" r:id="rId26"/>
    <p:sldId id="744" r:id="rId27"/>
    <p:sldId id="745" r:id="rId28"/>
    <p:sldId id="2382" r:id="rId29"/>
    <p:sldId id="746" r:id="rId30"/>
    <p:sldId id="748" r:id="rId31"/>
    <p:sldId id="860" r:id="rId32"/>
    <p:sldId id="393" r:id="rId33"/>
  </p:sldIdLst>
  <p:sldSz cx="12192000" cy="6858000"/>
  <p:notesSz cx="6858000" cy="9144000"/>
  <p:embeddedFontLst>
    <p:embeddedFont>
      <p:font typeface="Calibri" panose="020F0502020204030204" pitchFamily="34" charset="0"/>
      <p:regular r:id="rId36"/>
      <p:bold r:id="rId37"/>
      <p:italic r:id="rId38"/>
      <p:boldItalic r:id="rId39"/>
    </p:embeddedFont>
    <p:embeddedFont>
      <p:font typeface="DINPro-Black" panose="02000503030000020004" pitchFamily="2" charset="0"/>
      <p:bold r:id="rId40"/>
    </p:embeddedFont>
    <p:embeddedFont>
      <p:font typeface="DINPro-Regular" panose="02000503030000020003" pitchFamily="2" charset="0"/>
      <p:regular r:id="rId41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orlagen" id="{BBADE474-7592-4FA1-B0AB-4CE4654A09EA}">
          <p14:sldIdLst>
            <p14:sldId id="301"/>
            <p14:sldId id="504"/>
            <p14:sldId id="724"/>
            <p14:sldId id="464"/>
            <p14:sldId id="2401"/>
            <p14:sldId id="2402"/>
            <p14:sldId id="2403"/>
            <p14:sldId id="303"/>
            <p14:sldId id="2406"/>
            <p14:sldId id="2404"/>
            <p14:sldId id="2405"/>
            <p14:sldId id="2408"/>
            <p14:sldId id="2409"/>
            <p14:sldId id="734"/>
            <p14:sldId id="735"/>
            <p14:sldId id="736"/>
            <p14:sldId id="737"/>
            <p14:sldId id="738"/>
            <p14:sldId id="739"/>
            <p14:sldId id="740"/>
            <p14:sldId id="332"/>
            <p14:sldId id="741"/>
            <p14:sldId id="742"/>
            <p14:sldId id="743"/>
            <p14:sldId id="2410"/>
            <p14:sldId id="744"/>
            <p14:sldId id="745"/>
            <p14:sldId id="2382"/>
            <p14:sldId id="746"/>
            <p14:sldId id="748"/>
            <p14:sldId id="860"/>
            <p14:sldId id="39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5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14140"/>
    <a:srgbClr val="65B32E"/>
    <a:srgbClr val="DADADA"/>
    <a:srgbClr val="78787E"/>
    <a:srgbClr val="3C70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494" autoAdjust="0"/>
    <p:restoredTop sz="94663"/>
  </p:normalViewPr>
  <p:slideViewPr>
    <p:cSldViewPr snapToGrid="0" showGuides="1">
      <p:cViewPr varScale="1">
        <p:scale>
          <a:sx n="110" d="100"/>
          <a:sy n="110" d="100"/>
        </p:scale>
        <p:origin x="582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4" d="100"/>
          <a:sy n="94" d="100"/>
        </p:scale>
        <p:origin x="3752" y="1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4.fntdata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font" Target="fonts/font2.fntdata"/><Relationship Id="rId40" Type="http://schemas.openxmlformats.org/officeDocument/2006/relationships/font" Target="fonts/font5.fntdata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1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font" Target="fonts/font3.fntdata"/><Relationship Id="rId20" Type="http://schemas.openxmlformats.org/officeDocument/2006/relationships/slide" Target="slides/slide19.xml"/><Relationship Id="rId41" Type="http://schemas.openxmlformats.org/officeDocument/2006/relationships/font" Target="fonts/font6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E6E76D-DB6A-4BF2-9CB6-F875E84428AC}" type="datetimeFigureOut">
              <a:rPr lang="de-DE" smtClean="0"/>
              <a:t>24.06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Kurzinfo 6/2018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40BDF2-8135-4D49-A15A-8A3FA3CCF19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701227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059176-5FB5-4E0B-9F8C-57094423C4D8}" type="datetimeFigureOut">
              <a:rPr lang="de-DE" smtClean="0"/>
              <a:t>24.06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Kurzinfo 6/2018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396EE2-C304-4ED2-826D-72B2EF65264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475386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Kurzinfo 6/2018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396EE2-C304-4ED2-826D-72B2EF652641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85294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- über 7.500 (1.489 </a:t>
            </a:r>
            <a:r>
              <a:rPr lang="de-DE" dirty="0" err="1"/>
              <a:t>haupt</a:t>
            </a:r>
            <a:r>
              <a:rPr lang="de-DE" dirty="0"/>
              <a:t> + 6.031 neben) Betriebshelfer und Haushaltshilfen im haupt- und nebenberuflichen Einsatz</a:t>
            </a:r>
          </a:p>
          <a:p>
            <a:pPr marL="171450" indent="-171450">
              <a:buFontTx/>
              <a:buChar char="-"/>
            </a:pPr>
            <a:r>
              <a:rPr lang="de-DE" dirty="0"/>
              <a:t>rund 4.000 Mitarbeiter in Gesamtorganisation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Stand 2020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Kurzinfo 6/2018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396EE2-C304-4ED2-826D-72B2EF652641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44304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gradFill flip="none" rotWithShape="1">
          <a:gsLst>
            <a:gs pos="20000">
              <a:schemeClr val="bg2"/>
            </a:gs>
            <a:gs pos="81000">
              <a:srgbClr val="3C701D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" name="Gruppieren 156">
            <a:extLst>
              <a:ext uri="{FF2B5EF4-FFF2-40B4-BE49-F238E27FC236}">
                <a16:creationId xmlns:a16="http://schemas.microsoft.com/office/drawing/2014/main" id="{89CE84D4-92DF-4A50-AA3B-613FB9019B1A}"/>
              </a:ext>
            </a:extLst>
          </p:cNvPr>
          <p:cNvGrpSpPr/>
          <p:nvPr userDrawn="1"/>
        </p:nvGrpSpPr>
        <p:grpSpPr>
          <a:xfrm>
            <a:off x="-1977256" y="-2715574"/>
            <a:ext cx="8900052" cy="8912431"/>
            <a:chOff x="2671763" y="0"/>
            <a:chExt cx="6848475" cy="6858001"/>
          </a:xfrm>
          <a:solidFill>
            <a:schemeClr val="bg1">
              <a:alpha val="20000"/>
            </a:schemeClr>
          </a:solidFill>
        </p:grpSpPr>
        <p:sp>
          <p:nvSpPr>
            <p:cNvPr id="158" name="Freeform 34">
              <a:extLst>
                <a:ext uri="{FF2B5EF4-FFF2-40B4-BE49-F238E27FC236}">
                  <a16:creationId xmlns:a16="http://schemas.microsoft.com/office/drawing/2014/main" id="{06DA230D-EE51-4EBB-94D8-F006CA8803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95713" y="384175"/>
              <a:ext cx="4633913" cy="1198563"/>
            </a:xfrm>
            <a:custGeom>
              <a:avLst/>
              <a:gdLst>
                <a:gd name="T0" fmla="*/ 6164 w 12361"/>
                <a:gd name="T1" fmla="*/ 0 h 3189"/>
                <a:gd name="T2" fmla="*/ 0 w 12361"/>
                <a:gd name="T3" fmla="*/ 2767 h 3189"/>
                <a:gd name="T4" fmla="*/ 31 w 12361"/>
                <a:gd name="T5" fmla="*/ 3120 h 3189"/>
                <a:gd name="T6" fmla="*/ 338 w 12361"/>
                <a:gd name="T7" fmla="*/ 3120 h 3189"/>
                <a:gd name="T8" fmla="*/ 6164 w 12361"/>
                <a:gd name="T9" fmla="*/ 481 h 3189"/>
                <a:gd name="T10" fmla="*/ 11989 w 12361"/>
                <a:gd name="T11" fmla="*/ 3189 h 3189"/>
                <a:gd name="T12" fmla="*/ 12333 w 12361"/>
                <a:gd name="T13" fmla="*/ 3189 h 3189"/>
                <a:gd name="T14" fmla="*/ 12361 w 12361"/>
                <a:gd name="T15" fmla="*/ 2877 h 3189"/>
                <a:gd name="T16" fmla="*/ 6164 w 12361"/>
                <a:gd name="T17" fmla="*/ 0 h 3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361" h="3189">
                  <a:moveTo>
                    <a:pt x="6164" y="0"/>
                  </a:moveTo>
                  <a:cubicBezTo>
                    <a:pt x="3619" y="0"/>
                    <a:pt x="1487" y="952"/>
                    <a:pt x="0" y="2767"/>
                  </a:cubicBezTo>
                  <a:cubicBezTo>
                    <a:pt x="31" y="3120"/>
                    <a:pt x="31" y="3120"/>
                    <a:pt x="31" y="3120"/>
                  </a:cubicBezTo>
                  <a:cubicBezTo>
                    <a:pt x="338" y="3120"/>
                    <a:pt x="338" y="3120"/>
                    <a:pt x="338" y="3120"/>
                  </a:cubicBezTo>
                  <a:cubicBezTo>
                    <a:pt x="1734" y="1385"/>
                    <a:pt x="3748" y="481"/>
                    <a:pt x="6164" y="481"/>
                  </a:cubicBezTo>
                  <a:cubicBezTo>
                    <a:pt x="8579" y="481"/>
                    <a:pt x="10592" y="1455"/>
                    <a:pt x="11989" y="3189"/>
                  </a:cubicBezTo>
                  <a:cubicBezTo>
                    <a:pt x="12333" y="3189"/>
                    <a:pt x="12333" y="3189"/>
                    <a:pt x="12333" y="3189"/>
                  </a:cubicBezTo>
                  <a:cubicBezTo>
                    <a:pt x="12361" y="2877"/>
                    <a:pt x="12361" y="2877"/>
                    <a:pt x="12361" y="2877"/>
                  </a:cubicBezTo>
                  <a:cubicBezTo>
                    <a:pt x="10874" y="1039"/>
                    <a:pt x="8728" y="0"/>
                    <a:pt x="616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9" name="Freeform 35">
              <a:extLst>
                <a:ext uri="{FF2B5EF4-FFF2-40B4-BE49-F238E27FC236}">
                  <a16:creationId xmlns:a16="http://schemas.microsoft.com/office/drawing/2014/main" id="{C15B0F98-3E17-4AAF-8E5E-9D066D19FB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0838" y="769938"/>
              <a:ext cx="3892550" cy="842963"/>
            </a:xfrm>
            <a:custGeom>
              <a:avLst/>
              <a:gdLst>
                <a:gd name="T0" fmla="*/ 10247 w 10384"/>
                <a:gd name="T1" fmla="*/ 2104 h 2244"/>
                <a:gd name="T2" fmla="*/ 5191 w 10384"/>
                <a:gd name="T3" fmla="*/ 0 h 2244"/>
                <a:gd name="T4" fmla="*/ 118 w 10384"/>
                <a:gd name="T5" fmla="*/ 2120 h 2244"/>
                <a:gd name="T6" fmla="*/ 118 w 10384"/>
                <a:gd name="T7" fmla="*/ 2121 h 2244"/>
                <a:gd name="T8" fmla="*/ 0 w 10384"/>
                <a:gd name="T9" fmla="*/ 2244 h 2244"/>
                <a:gd name="T10" fmla="*/ 641 w 10384"/>
                <a:gd name="T11" fmla="*/ 2244 h 2244"/>
                <a:gd name="T12" fmla="*/ 5192 w 10384"/>
                <a:gd name="T13" fmla="*/ 451 h 2244"/>
                <a:gd name="T14" fmla="*/ 9742 w 10384"/>
                <a:gd name="T15" fmla="*/ 2244 h 2244"/>
                <a:gd name="T16" fmla="*/ 10384 w 10384"/>
                <a:gd name="T17" fmla="*/ 2244 h 2244"/>
                <a:gd name="T18" fmla="*/ 10249 w 10384"/>
                <a:gd name="T19" fmla="*/ 2104 h 2244"/>
                <a:gd name="T20" fmla="*/ 10247 w 10384"/>
                <a:gd name="T21" fmla="*/ 2104 h 2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384" h="2244">
                  <a:moveTo>
                    <a:pt x="10247" y="2104"/>
                  </a:moveTo>
                  <a:cubicBezTo>
                    <a:pt x="8966" y="806"/>
                    <a:pt x="7174" y="0"/>
                    <a:pt x="5191" y="0"/>
                  </a:cubicBezTo>
                  <a:cubicBezTo>
                    <a:pt x="3199" y="0"/>
                    <a:pt x="1401" y="813"/>
                    <a:pt x="118" y="2120"/>
                  </a:cubicBezTo>
                  <a:cubicBezTo>
                    <a:pt x="118" y="2121"/>
                    <a:pt x="118" y="2121"/>
                    <a:pt x="118" y="2121"/>
                  </a:cubicBezTo>
                  <a:cubicBezTo>
                    <a:pt x="78" y="2161"/>
                    <a:pt x="39" y="2203"/>
                    <a:pt x="0" y="2244"/>
                  </a:cubicBezTo>
                  <a:cubicBezTo>
                    <a:pt x="641" y="2244"/>
                    <a:pt x="641" y="2244"/>
                    <a:pt x="641" y="2244"/>
                  </a:cubicBezTo>
                  <a:cubicBezTo>
                    <a:pt x="1824" y="1133"/>
                    <a:pt x="3427" y="451"/>
                    <a:pt x="5192" y="451"/>
                  </a:cubicBezTo>
                  <a:cubicBezTo>
                    <a:pt x="6956" y="451"/>
                    <a:pt x="8559" y="1133"/>
                    <a:pt x="9742" y="2244"/>
                  </a:cubicBezTo>
                  <a:cubicBezTo>
                    <a:pt x="10384" y="2244"/>
                    <a:pt x="10384" y="2244"/>
                    <a:pt x="10384" y="2244"/>
                  </a:cubicBezTo>
                  <a:cubicBezTo>
                    <a:pt x="10339" y="2197"/>
                    <a:pt x="10294" y="2150"/>
                    <a:pt x="10249" y="2104"/>
                  </a:cubicBezTo>
                  <a:lnTo>
                    <a:pt x="10247" y="2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0" name="Freeform 36">
              <a:extLst>
                <a:ext uri="{FF2B5EF4-FFF2-40B4-BE49-F238E27FC236}">
                  <a16:creationId xmlns:a16="http://schemas.microsoft.com/office/drawing/2014/main" id="{09116568-42E8-4AC0-B2AA-E2CE29325B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675063" y="0"/>
              <a:ext cx="4811713" cy="1212850"/>
            </a:xfrm>
            <a:custGeom>
              <a:avLst/>
              <a:gdLst>
                <a:gd name="T0" fmla="*/ 12837 w 12837"/>
                <a:gd name="T1" fmla="*/ 2625 h 3226"/>
                <a:gd name="T2" fmla="*/ 6399 w 12837"/>
                <a:gd name="T3" fmla="*/ 0 h 3226"/>
                <a:gd name="T4" fmla="*/ 0 w 12837"/>
                <a:gd name="T5" fmla="*/ 2586 h 3226"/>
                <a:gd name="T6" fmla="*/ 52 w 12837"/>
                <a:gd name="T7" fmla="*/ 3183 h 3226"/>
                <a:gd name="T8" fmla="*/ 6399 w 12837"/>
                <a:gd name="T9" fmla="*/ 457 h 3226"/>
                <a:gd name="T10" fmla="*/ 12785 w 12837"/>
                <a:gd name="T11" fmla="*/ 3226 h 3226"/>
                <a:gd name="T12" fmla="*/ 12837 w 12837"/>
                <a:gd name="T13" fmla="*/ 2625 h 3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37" h="3226">
                  <a:moveTo>
                    <a:pt x="12837" y="2625"/>
                  </a:moveTo>
                  <a:cubicBezTo>
                    <a:pt x="11181" y="1002"/>
                    <a:pt x="8907" y="0"/>
                    <a:pt x="6399" y="0"/>
                  </a:cubicBezTo>
                  <a:cubicBezTo>
                    <a:pt x="3910" y="0"/>
                    <a:pt x="1653" y="986"/>
                    <a:pt x="0" y="2586"/>
                  </a:cubicBezTo>
                  <a:cubicBezTo>
                    <a:pt x="52" y="3183"/>
                    <a:pt x="52" y="3183"/>
                    <a:pt x="52" y="3183"/>
                  </a:cubicBezTo>
                  <a:cubicBezTo>
                    <a:pt x="1642" y="1505"/>
                    <a:pt x="3897" y="457"/>
                    <a:pt x="6399" y="457"/>
                  </a:cubicBezTo>
                  <a:cubicBezTo>
                    <a:pt x="8921" y="457"/>
                    <a:pt x="11193" y="1523"/>
                    <a:pt x="12785" y="3226"/>
                  </a:cubicBezTo>
                  <a:lnTo>
                    <a:pt x="12837" y="26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1" name="Freeform 37">
              <a:extLst>
                <a:ext uri="{FF2B5EF4-FFF2-40B4-BE49-F238E27FC236}">
                  <a16:creationId xmlns:a16="http://schemas.microsoft.com/office/drawing/2014/main" id="{FAC212EE-D41C-4C3F-948D-771C0559F7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84526" y="1192213"/>
              <a:ext cx="434975" cy="952500"/>
            </a:xfrm>
            <a:custGeom>
              <a:avLst/>
              <a:gdLst>
                <a:gd name="T0" fmla="*/ 8 w 1162"/>
                <a:gd name="T1" fmla="*/ 1376 h 2537"/>
                <a:gd name="T2" fmla="*/ 493 w 1162"/>
                <a:gd name="T3" fmla="*/ 2537 h 2537"/>
                <a:gd name="T4" fmla="*/ 1041 w 1162"/>
                <a:gd name="T5" fmla="*/ 1538 h 2537"/>
                <a:gd name="T6" fmla="*/ 1020 w 1162"/>
                <a:gd name="T7" fmla="*/ 582 h 2537"/>
                <a:gd name="T8" fmla="*/ 1019 w 1162"/>
                <a:gd name="T9" fmla="*/ 576 h 2537"/>
                <a:gd name="T10" fmla="*/ 1019 w 1162"/>
                <a:gd name="T11" fmla="*/ 577 h 2537"/>
                <a:gd name="T12" fmla="*/ 960 w 1162"/>
                <a:gd name="T13" fmla="*/ 364 h 2537"/>
                <a:gd name="T14" fmla="*/ 836 w 1162"/>
                <a:gd name="T15" fmla="*/ 0 h 2537"/>
                <a:gd name="T16" fmla="*/ 34 w 1162"/>
                <a:gd name="T17" fmla="*/ 1133 h 2537"/>
                <a:gd name="T18" fmla="*/ 8 w 1162"/>
                <a:gd name="T19" fmla="*/ 1375 h 2537"/>
                <a:gd name="T20" fmla="*/ 8 w 1162"/>
                <a:gd name="T21" fmla="*/ 1376 h 2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62" h="2537">
                  <a:moveTo>
                    <a:pt x="8" y="1376"/>
                  </a:moveTo>
                  <a:cubicBezTo>
                    <a:pt x="52" y="1844"/>
                    <a:pt x="493" y="2537"/>
                    <a:pt x="493" y="2537"/>
                  </a:cubicBezTo>
                  <a:cubicBezTo>
                    <a:pt x="671" y="2164"/>
                    <a:pt x="779" y="1936"/>
                    <a:pt x="1041" y="1538"/>
                  </a:cubicBezTo>
                  <a:cubicBezTo>
                    <a:pt x="1162" y="1317"/>
                    <a:pt x="1104" y="918"/>
                    <a:pt x="1020" y="582"/>
                  </a:cubicBezTo>
                  <a:cubicBezTo>
                    <a:pt x="1020" y="583"/>
                    <a:pt x="1020" y="582"/>
                    <a:pt x="1019" y="576"/>
                  </a:cubicBezTo>
                  <a:cubicBezTo>
                    <a:pt x="1019" y="577"/>
                    <a:pt x="1019" y="577"/>
                    <a:pt x="1019" y="577"/>
                  </a:cubicBezTo>
                  <a:cubicBezTo>
                    <a:pt x="1012" y="552"/>
                    <a:pt x="984" y="444"/>
                    <a:pt x="960" y="364"/>
                  </a:cubicBezTo>
                  <a:cubicBezTo>
                    <a:pt x="896" y="152"/>
                    <a:pt x="836" y="0"/>
                    <a:pt x="836" y="0"/>
                  </a:cubicBezTo>
                  <a:cubicBezTo>
                    <a:pt x="528" y="354"/>
                    <a:pt x="270" y="613"/>
                    <a:pt x="34" y="1133"/>
                  </a:cubicBezTo>
                  <a:cubicBezTo>
                    <a:pt x="6" y="1201"/>
                    <a:pt x="0" y="1284"/>
                    <a:pt x="8" y="1375"/>
                  </a:cubicBezTo>
                  <a:lnTo>
                    <a:pt x="8" y="13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2" name="Freeform 38">
              <a:extLst>
                <a:ext uri="{FF2B5EF4-FFF2-40B4-BE49-F238E27FC236}">
                  <a16:creationId xmlns:a16="http://schemas.microsoft.com/office/drawing/2014/main" id="{656A9611-E1D2-4996-A5F5-9A1EA11014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82876" y="2582863"/>
              <a:ext cx="430213" cy="928688"/>
            </a:xfrm>
            <a:custGeom>
              <a:avLst/>
              <a:gdLst>
                <a:gd name="T0" fmla="*/ 1 w 1148"/>
                <a:gd name="T1" fmla="*/ 1459 h 2470"/>
                <a:gd name="T2" fmla="*/ 1 w 1148"/>
                <a:gd name="T3" fmla="*/ 1534 h 2470"/>
                <a:gd name="T4" fmla="*/ 1045 w 1148"/>
                <a:gd name="T5" fmla="*/ 2470 h 2470"/>
                <a:gd name="T6" fmla="*/ 1044 w 1148"/>
                <a:gd name="T7" fmla="*/ 2322 h 2470"/>
                <a:gd name="T8" fmla="*/ 1045 w 1148"/>
                <a:gd name="T9" fmla="*/ 2256 h 2470"/>
                <a:gd name="T10" fmla="*/ 1052 w 1148"/>
                <a:gd name="T11" fmla="*/ 2139 h 2470"/>
                <a:gd name="T12" fmla="*/ 1098 w 1148"/>
                <a:gd name="T13" fmla="*/ 1247 h 2470"/>
                <a:gd name="T14" fmla="*/ 254 w 1148"/>
                <a:gd name="T15" fmla="*/ 0 h 2470"/>
                <a:gd name="T16" fmla="*/ 1 w 1148"/>
                <a:gd name="T17" fmla="*/ 1380 h 2470"/>
                <a:gd name="T18" fmla="*/ 1 w 1148"/>
                <a:gd name="T19" fmla="*/ 1459 h 2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8" h="2470">
                  <a:moveTo>
                    <a:pt x="1" y="1459"/>
                  </a:moveTo>
                  <a:cubicBezTo>
                    <a:pt x="1" y="1484"/>
                    <a:pt x="1" y="1508"/>
                    <a:pt x="1" y="1534"/>
                  </a:cubicBezTo>
                  <a:cubicBezTo>
                    <a:pt x="12" y="1970"/>
                    <a:pt x="1045" y="2470"/>
                    <a:pt x="1045" y="2470"/>
                  </a:cubicBezTo>
                  <a:cubicBezTo>
                    <a:pt x="1044" y="2421"/>
                    <a:pt x="1044" y="2371"/>
                    <a:pt x="1044" y="2322"/>
                  </a:cubicBezTo>
                  <a:cubicBezTo>
                    <a:pt x="1044" y="2299"/>
                    <a:pt x="1044" y="2277"/>
                    <a:pt x="1045" y="2256"/>
                  </a:cubicBezTo>
                  <a:cubicBezTo>
                    <a:pt x="1045" y="2248"/>
                    <a:pt x="1048" y="2186"/>
                    <a:pt x="1052" y="2139"/>
                  </a:cubicBezTo>
                  <a:cubicBezTo>
                    <a:pt x="1077" y="1850"/>
                    <a:pt x="1148" y="1666"/>
                    <a:pt x="1098" y="1247"/>
                  </a:cubicBezTo>
                  <a:cubicBezTo>
                    <a:pt x="1002" y="770"/>
                    <a:pt x="254" y="0"/>
                    <a:pt x="254" y="0"/>
                  </a:cubicBezTo>
                  <a:cubicBezTo>
                    <a:pt x="127" y="474"/>
                    <a:pt x="9" y="838"/>
                    <a:pt x="1" y="1380"/>
                  </a:cubicBezTo>
                  <a:cubicBezTo>
                    <a:pt x="0" y="1429"/>
                    <a:pt x="1" y="1484"/>
                    <a:pt x="1" y="14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3" name="Freeform 39">
              <a:extLst>
                <a:ext uri="{FF2B5EF4-FFF2-40B4-BE49-F238E27FC236}">
                  <a16:creationId xmlns:a16="http://schemas.microsoft.com/office/drawing/2014/main" id="{2BC196FA-9D44-4852-B96A-B04AB904E4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778126" y="4268788"/>
              <a:ext cx="671513" cy="639763"/>
            </a:xfrm>
            <a:custGeom>
              <a:avLst/>
              <a:gdLst>
                <a:gd name="T0" fmla="*/ 1295 w 1794"/>
                <a:gd name="T1" fmla="*/ 657 h 1703"/>
                <a:gd name="T2" fmla="*/ 0 w 1794"/>
                <a:gd name="T3" fmla="*/ 0 h 1703"/>
                <a:gd name="T4" fmla="*/ 29 w 1794"/>
                <a:gd name="T5" fmla="*/ 132 h 1703"/>
                <a:gd name="T6" fmla="*/ 29 w 1794"/>
                <a:gd name="T7" fmla="*/ 132 h 1703"/>
                <a:gd name="T8" fmla="*/ 412 w 1794"/>
                <a:gd name="T9" fmla="*/ 1306 h 1703"/>
                <a:gd name="T10" fmla="*/ 1794 w 1794"/>
                <a:gd name="T11" fmla="*/ 1703 h 1703"/>
                <a:gd name="T12" fmla="*/ 1663 w 1794"/>
                <a:gd name="T13" fmla="*/ 1459 h 1703"/>
                <a:gd name="T14" fmla="*/ 1295 w 1794"/>
                <a:gd name="T15" fmla="*/ 657 h 1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94" h="1703">
                  <a:moveTo>
                    <a:pt x="1295" y="657"/>
                  </a:moveTo>
                  <a:cubicBezTo>
                    <a:pt x="1129" y="253"/>
                    <a:pt x="0" y="0"/>
                    <a:pt x="0" y="0"/>
                  </a:cubicBezTo>
                  <a:cubicBezTo>
                    <a:pt x="10" y="46"/>
                    <a:pt x="20" y="90"/>
                    <a:pt x="29" y="132"/>
                  </a:cubicBezTo>
                  <a:cubicBezTo>
                    <a:pt x="29" y="132"/>
                    <a:pt x="29" y="132"/>
                    <a:pt x="29" y="132"/>
                  </a:cubicBezTo>
                  <a:cubicBezTo>
                    <a:pt x="127" y="569"/>
                    <a:pt x="180" y="793"/>
                    <a:pt x="412" y="1306"/>
                  </a:cubicBezTo>
                  <a:cubicBezTo>
                    <a:pt x="573" y="1646"/>
                    <a:pt x="1794" y="1703"/>
                    <a:pt x="1794" y="1703"/>
                  </a:cubicBezTo>
                  <a:cubicBezTo>
                    <a:pt x="1745" y="1614"/>
                    <a:pt x="1703" y="1534"/>
                    <a:pt x="1663" y="1459"/>
                  </a:cubicBezTo>
                  <a:cubicBezTo>
                    <a:pt x="1532" y="1210"/>
                    <a:pt x="1436" y="1007"/>
                    <a:pt x="1295" y="6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4" name="Freeform 40">
              <a:extLst>
                <a:ext uri="{FF2B5EF4-FFF2-40B4-BE49-F238E27FC236}">
                  <a16:creationId xmlns:a16="http://schemas.microsoft.com/office/drawing/2014/main" id="{39CD6E7D-6FCE-45F1-ADAA-7BE72A0AFD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97251" y="4027488"/>
              <a:ext cx="401638" cy="833438"/>
            </a:xfrm>
            <a:custGeom>
              <a:avLst/>
              <a:gdLst>
                <a:gd name="T0" fmla="*/ 6 w 1072"/>
                <a:gd name="T1" fmla="*/ 1065 h 2219"/>
                <a:gd name="T2" fmla="*/ 6 w 1072"/>
                <a:gd name="T3" fmla="*/ 1065 h 2219"/>
                <a:gd name="T4" fmla="*/ 6 w 1072"/>
                <a:gd name="T5" fmla="*/ 1065 h 2219"/>
                <a:gd name="T6" fmla="*/ 6 w 1072"/>
                <a:gd name="T7" fmla="*/ 1065 h 2219"/>
                <a:gd name="T8" fmla="*/ 6 w 1072"/>
                <a:gd name="T9" fmla="*/ 1065 h 2219"/>
                <a:gd name="T10" fmla="*/ 8 w 1072"/>
                <a:gd name="T11" fmla="*/ 1100 h 2219"/>
                <a:gd name="T12" fmla="*/ 517 w 1072"/>
                <a:gd name="T13" fmla="*/ 2219 h 2219"/>
                <a:gd name="T14" fmla="*/ 1066 w 1072"/>
                <a:gd name="T15" fmla="*/ 904 h 2219"/>
                <a:gd name="T16" fmla="*/ 1072 w 1072"/>
                <a:gd name="T17" fmla="*/ 817 h 2219"/>
                <a:gd name="T18" fmla="*/ 810 w 1072"/>
                <a:gd name="T19" fmla="*/ 0 h 2219"/>
                <a:gd name="T20" fmla="*/ 6 w 1072"/>
                <a:gd name="T21" fmla="*/ 1065 h 2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72" h="2219">
                  <a:moveTo>
                    <a:pt x="6" y="1065"/>
                  </a:moveTo>
                  <a:cubicBezTo>
                    <a:pt x="6" y="1065"/>
                    <a:pt x="6" y="1065"/>
                    <a:pt x="6" y="1065"/>
                  </a:cubicBezTo>
                  <a:cubicBezTo>
                    <a:pt x="6" y="1065"/>
                    <a:pt x="6" y="1065"/>
                    <a:pt x="6" y="1065"/>
                  </a:cubicBezTo>
                  <a:cubicBezTo>
                    <a:pt x="6" y="1065"/>
                    <a:pt x="6" y="1065"/>
                    <a:pt x="6" y="1065"/>
                  </a:cubicBezTo>
                  <a:cubicBezTo>
                    <a:pt x="6" y="1065"/>
                    <a:pt x="6" y="1065"/>
                    <a:pt x="6" y="1065"/>
                  </a:cubicBezTo>
                  <a:cubicBezTo>
                    <a:pt x="6" y="1077"/>
                    <a:pt x="6" y="1088"/>
                    <a:pt x="8" y="1100"/>
                  </a:cubicBezTo>
                  <a:cubicBezTo>
                    <a:pt x="91" y="1606"/>
                    <a:pt x="313" y="1851"/>
                    <a:pt x="517" y="2219"/>
                  </a:cubicBezTo>
                  <a:cubicBezTo>
                    <a:pt x="517" y="2219"/>
                    <a:pt x="1006" y="1450"/>
                    <a:pt x="1066" y="904"/>
                  </a:cubicBezTo>
                  <a:cubicBezTo>
                    <a:pt x="1069" y="874"/>
                    <a:pt x="1072" y="845"/>
                    <a:pt x="1072" y="817"/>
                  </a:cubicBezTo>
                  <a:cubicBezTo>
                    <a:pt x="1044" y="413"/>
                    <a:pt x="882" y="318"/>
                    <a:pt x="810" y="0"/>
                  </a:cubicBezTo>
                  <a:cubicBezTo>
                    <a:pt x="810" y="0"/>
                    <a:pt x="0" y="590"/>
                    <a:pt x="6" y="10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5" name="Freeform 41">
              <a:extLst>
                <a:ext uri="{FF2B5EF4-FFF2-40B4-BE49-F238E27FC236}">
                  <a16:creationId xmlns:a16="http://schemas.microsoft.com/office/drawing/2014/main" id="{DBE3A057-8F81-4909-B41C-88A43F3060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28976" y="3435350"/>
              <a:ext cx="431800" cy="779463"/>
            </a:xfrm>
            <a:custGeom>
              <a:avLst/>
              <a:gdLst>
                <a:gd name="T0" fmla="*/ 1081 w 1151"/>
                <a:gd name="T1" fmla="*/ 33 h 2076"/>
                <a:gd name="T2" fmla="*/ 1079 w 1151"/>
                <a:gd name="T3" fmla="*/ 0 h 2076"/>
                <a:gd name="T4" fmla="*/ 1028 w 1151"/>
                <a:gd name="T5" fmla="*/ 24 h 2076"/>
                <a:gd name="T6" fmla="*/ 16 w 1151"/>
                <a:gd name="T7" fmla="*/ 851 h 2076"/>
                <a:gd name="T8" fmla="*/ 0 w 1151"/>
                <a:gd name="T9" fmla="*/ 1064 h 2076"/>
                <a:gd name="T10" fmla="*/ 279 w 1151"/>
                <a:gd name="T11" fmla="*/ 2076 h 2076"/>
                <a:gd name="T12" fmla="*/ 1137 w 1151"/>
                <a:gd name="T13" fmla="*/ 899 h 2076"/>
                <a:gd name="T14" fmla="*/ 1137 w 1151"/>
                <a:gd name="T15" fmla="*/ 891 h 2076"/>
                <a:gd name="T16" fmla="*/ 1137 w 1151"/>
                <a:gd name="T17" fmla="*/ 891 h 2076"/>
                <a:gd name="T18" fmla="*/ 1137 w 1151"/>
                <a:gd name="T19" fmla="*/ 891 h 2076"/>
                <a:gd name="T20" fmla="*/ 1081 w 1151"/>
                <a:gd name="T21" fmla="*/ 33 h 20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51" h="2076">
                  <a:moveTo>
                    <a:pt x="1081" y="33"/>
                  </a:moveTo>
                  <a:cubicBezTo>
                    <a:pt x="1081" y="4"/>
                    <a:pt x="1079" y="0"/>
                    <a:pt x="1079" y="0"/>
                  </a:cubicBezTo>
                  <a:cubicBezTo>
                    <a:pt x="1079" y="0"/>
                    <a:pt x="1046" y="15"/>
                    <a:pt x="1028" y="24"/>
                  </a:cubicBezTo>
                  <a:cubicBezTo>
                    <a:pt x="867" y="100"/>
                    <a:pt x="78" y="487"/>
                    <a:pt x="16" y="851"/>
                  </a:cubicBezTo>
                  <a:cubicBezTo>
                    <a:pt x="4" y="927"/>
                    <a:pt x="0" y="997"/>
                    <a:pt x="0" y="1064"/>
                  </a:cubicBezTo>
                  <a:cubicBezTo>
                    <a:pt x="2" y="1457"/>
                    <a:pt x="180" y="1712"/>
                    <a:pt x="279" y="2076"/>
                  </a:cubicBezTo>
                  <a:cubicBezTo>
                    <a:pt x="279" y="2076"/>
                    <a:pt x="1119" y="1306"/>
                    <a:pt x="1137" y="899"/>
                  </a:cubicBezTo>
                  <a:cubicBezTo>
                    <a:pt x="1137" y="896"/>
                    <a:pt x="1137" y="894"/>
                    <a:pt x="1137" y="891"/>
                  </a:cubicBezTo>
                  <a:cubicBezTo>
                    <a:pt x="1137" y="891"/>
                    <a:pt x="1137" y="891"/>
                    <a:pt x="1137" y="891"/>
                  </a:cubicBezTo>
                  <a:cubicBezTo>
                    <a:pt x="1137" y="891"/>
                    <a:pt x="1137" y="891"/>
                    <a:pt x="1137" y="891"/>
                  </a:cubicBezTo>
                  <a:cubicBezTo>
                    <a:pt x="1151" y="514"/>
                    <a:pt x="1081" y="324"/>
                    <a:pt x="1081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6" name="Freeform 42">
              <a:extLst>
                <a:ext uri="{FF2B5EF4-FFF2-40B4-BE49-F238E27FC236}">
                  <a16:creationId xmlns:a16="http://schemas.microsoft.com/office/drawing/2014/main" id="{945B6ACE-361E-4A7E-A046-8D2BD4F3DF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09926" y="2870200"/>
              <a:ext cx="488950" cy="647700"/>
            </a:xfrm>
            <a:custGeom>
              <a:avLst/>
              <a:gdLst>
                <a:gd name="T0" fmla="*/ 1306 w 1306"/>
                <a:gd name="T1" fmla="*/ 0 h 1722"/>
                <a:gd name="T2" fmla="*/ 112 w 1306"/>
                <a:gd name="T3" fmla="*/ 530 h 1722"/>
                <a:gd name="T4" fmla="*/ 53 w 1306"/>
                <a:gd name="T5" fmla="*/ 1373 h 1722"/>
                <a:gd name="T6" fmla="*/ 58 w 1306"/>
                <a:gd name="T7" fmla="*/ 1522 h 1722"/>
                <a:gd name="T8" fmla="*/ 59 w 1306"/>
                <a:gd name="T9" fmla="*/ 1558 h 1722"/>
                <a:gd name="T10" fmla="*/ 61 w 1306"/>
                <a:gd name="T11" fmla="*/ 1722 h 1722"/>
                <a:gd name="T12" fmla="*/ 1169 w 1306"/>
                <a:gd name="T13" fmla="*/ 828 h 1722"/>
                <a:gd name="T14" fmla="*/ 1257 w 1306"/>
                <a:gd name="T15" fmla="*/ 512 h 1722"/>
                <a:gd name="T16" fmla="*/ 1257 w 1306"/>
                <a:gd name="T17" fmla="*/ 513 h 1722"/>
                <a:gd name="T18" fmla="*/ 1257 w 1306"/>
                <a:gd name="T19" fmla="*/ 513 h 1722"/>
                <a:gd name="T20" fmla="*/ 1306 w 1306"/>
                <a:gd name="T21" fmla="*/ 0 h 1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06" h="1722">
                  <a:moveTo>
                    <a:pt x="1306" y="0"/>
                  </a:moveTo>
                  <a:cubicBezTo>
                    <a:pt x="1306" y="0"/>
                    <a:pt x="270" y="162"/>
                    <a:pt x="112" y="530"/>
                  </a:cubicBezTo>
                  <a:cubicBezTo>
                    <a:pt x="0" y="840"/>
                    <a:pt x="37" y="1081"/>
                    <a:pt x="53" y="1373"/>
                  </a:cubicBezTo>
                  <a:cubicBezTo>
                    <a:pt x="56" y="1432"/>
                    <a:pt x="58" y="1534"/>
                    <a:pt x="58" y="1522"/>
                  </a:cubicBezTo>
                  <a:cubicBezTo>
                    <a:pt x="58" y="1534"/>
                    <a:pt x="59" y="1546"/>
                    <a:pt x="59" y="1558"/>
                  </a:cubicBezTo>
                  <a:cubicBezTo>
                    <a:pt x="59" y="1613"/>
                    <a:pt x="59" y="1667"/>
                    <a:pt x="61" y="1722"/>
                  </a:cubicBezTo>
                  <a:cubicBezTo>
                    <a:pt x="61" y="1722"/>
                    <a:pt x="1030" y="1166"/>
                    <a:pt x="1169" y="828"/>
                  </a:cubicBezTo>
                  <a:cubicBezTo>
                    <a:pt x="1219" y="697"/>
                    <a:pt x="1244" y="597"/>
                    <a:pt x="1257" y="512"/>
                  </a:cubicBezTo>
                  <a:cubicBezTo>
                    <a:pt x="1257" y="513"/>
                    <a:pt x="1257" y="513"/>
                    <a:pt x="1257" y="513"/>
                  </a:cubicBezTo>
                  <a:cubicBezTo>
                    <a:pt x="1257" y="513"/>
                    <a:pt x="1257" y="513"/>
                    <a:pt x="1257" y="513"/>
                  </a:cubicBezTo>
                  <a:cubicBezTo>
                    <a:pt x="1286" y="321"/>
                    <a:pt x="1253" y="209"/>
                    <a:pt x="130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7" name="Freeform 43">
              <a:extLst>
                <a:ext uri="{FF2B5EF4-FFF2-40B4-BE49-F238E27FC236}">
                  <a16:creationId xmlns:a16="http://schemas.microsoft.com/office/drawing/2014/main" id="{CEF3321A-6BE2-45E6-A841-DCF3358A80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16313" y="1792288"/>
              <a:ext cx="720725" cy="425450"/>
            </a:xfrm>
            <a:custGeom>
              <a:avLst/>
              <a:gdLst>
                <a:gd name="T0" fmla="*/ 1811 w 1922"/>
                <a:gd name="T1" fmla="*/ 80 h 1131"/>
                <a:gd name="T2" fmla="*/ 529 w 1922"/>
                <a:gd name="T3" fmla="*/ 172 h 1131"/>
                <a:gd name="T4" fmla="*/ 83 w 1922"/>
                <a:gd name="T5" fmla="*/ 926 h 1131"/>
                <a:gd name="T6" fmla="*/ 0 w 1922"/>
                <a:gd name="T7" fmla="*/ 1106 h 1131"/>
                <a:gd name="T8" fmla="*/ 1326 w 1922"/>
                <a:gd name="T9" fmla="*/ 898 h 1131"/>
                <a:gd name="T10" fmla="*/ 1922 w 1922"/>
                <a:gd name="T11" fmla="*/ 91 h 1131"/>
                <a:gd name="T12" fmla="*/ 1811 w 1922"/>
                <a:gd name="T13" fmla="*/ 80 h 1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2" h="1131">
                  <a:moveTo>
                    <a:pt x="1811" y="80"/>
                  </a:moveTo>
                  <a:cubicBezTo>
                    <a:pt x="1513" y="53"/>
                    <a:pt x="708" y="0"/>
                    <a:pt x="529" y="172"/>
                  </a:cubicBezTo>
                  <a:cubicBezTo>
                    <a:pt x="274" y="461"/>
                    <a:pt x="81" y="929"/>
                    <a:pt x="83" y="926"/>
                  </a:cubicBezTo>
                  <a:cubicBezTo>
                    <a:pt x="57" y="984"/>
                    <a:pt x="31" y="1043"/>
                    <a:pt x="0" y="1106"/>
                  </a:cubicBezTo>
                  <a:cubicBezTo>
                    <a:pt x="0" y="1106"/>
                    <a:pt x="1118" y="1131"/>
                    <a:pt x="1326" y="898"/>
                  </a:cubicBezTo>
                  <a:cubicBezTo>
                    <a:pt x="1607" y="609"/>
                    <a:pt x="1716" y="331"/>
                    <a:pt x="1922" y="91"/>
                  </a:cubicBezTo>
                  <a:cubicBezTo>
                    <a:pt x="1922" y="91"/>
                    <a:pt x="1880" y="86"/>
                    <a:pt x="1811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8" name="Freeform 44">
              <a:extLst>
                <a:ext uri="{FF2B5EF4-FFF2-40B4-BE49-F238E27FC236}">
                  <a16:creationId xmlns:a16="http://schemas.microsoft.com/office/drawing/2014/main" id="{90E40014-C07C-4E8E-A4F9-5BEAE8D351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98826" y="2300288"/>
              <a:ext cx="600075" cy="536575"/>
            </a:xfrm>
            <a:custGeom>
              <a:avLst/>
              <a:gdLst>
                <a:gd name="T0" fmla="*/ 1602 w 1602"/>
                <a:gd name="T1" fmla="*/ 101 h 1426"/>
                <a:gd name="T2" fmla="*/ 345 w 1602"/>
                <a:gd name="T3" fmla="*/ 298 h 1426"/>
                <a:gd name="T4" fmla="*/ 36 w 1602"/>
                <a:gd name="T5" fmla="*/ 1252 h 1426"/>
                <a:gd name="T6" fmla="*/ 0 w 1602"/>
                <a:gd name="T7" fmla="*/ 1426 h 1426"/>
                <a:gd name="T8" fmla="*/ 1266 w 1602"/>
                <a:gd name="T9" fmla="*/ 865 h 1426"/>
                <a:gd name="T10" fmla="*/ 1556 w 1602"/>
                <a:gd name="T11" fmla="*/ 197 h 1426"/>
                <a:gd name="T12" fmla="*/ 1556 w 1602"/>
                <a:gd name="T13" fmla="*/ 197 h 1426"/>
                <a:gd name="T14" fmla="*/ 1602 w 1602"/>
                <a:gd name="T15" fmla="*/ 101 h 1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02" h="1426">
                  <a:moveTo>
                    <a:pt x="1602" y="101"/>
                  </a:moveTo>
                  <a:cubicBezTo>
                    <a:pt x="1602" y="101"/>
                    <a:pt x="575" y="0"/>
                    <a:pt x="345" y="298"/>
                  </a:cubicBezTo>
                  <a:cubicBezTo>
                    <a:pt x="158" y="573"/>
                    <a:pt x="104" y="904"/>
                    <a:pt x="36" y="1252"/>
                  </a:cubicBezTo>
                  <a:cubicBezTo>
                    <a:pt x="24" y="1310"/>
                    <a:pt x="13" y="1368"/>
                    <a:pt x="0" y="1426"/>
                  </a:cubicBezTo>
                  <a:cubicBezTo>
                    <a:pt x="0" y="1426"/>
                    <a:pt x="1038" y="1217"/>
                    <a:pt x="1266" y="865"/>
                  </a:cubicBezTo>
                  <a:cubicBezTo>
                    <a:pt x="1437" y="561"/>
                    <a:pt x="1460" y="408"/>
                    <a:pt x="1556" y="197"/>
                  </a:cubicBezTo>
                  <a:cubicBezTo>
                    <a:pt x="1556" y="197"/>
                    <a:pt x="1556" y="197"/>
                    <a:pt x="1556" y="197"/>
                  </a:cubicBezTo>
                  <a:cubicBezTo>
                    <a:pt x="1569" y="166"/>
                    <a:pt x="1584" y="135"/>
                    <a:pt x="1602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9" name="Freeform 45">
              <a:extLst>
                <a:ext uri="{FF2B5EF4-FFF2-40B4-BE49-F238E27FC236}">
                  <a16:creationId xmlns:a16="http://schemas.microsoft.com/office/drawing/2014/main" id="{FE7BE8CD-B22F-442A-9110-C97547B0BF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824163" y="1858963"/>
              <a:ext cx="479425" cy="933450"/>
            </a:xfrm>
            <a:custGeom>
              <a:avLst/>
              <a:gdLst>
                <a:gd name="T0" fmla="*/ 858 w 1279"/>
                <a:gd name="T1" fmla="*/ 2485 h 2485"/>
                <a:gd name="T2" fmla="*/ 894 w 1279"/>
                <a:gd name="T3" fmla="*/ 2334 h 2485"/>
                <a:gd name="T4" fmla="*/ 893 w 1279"/>
                <a:gd name="T5" fmla="*/ 2337 h 2485"/>
                <a:gd name="T6" fmla="*/ 1135 w 1279"/>
                <a:gd name="T7" fmla="*/ 1510 h 2485"/>
                <a:gd name="T8" fmla="*/ 642 w 1279"/>
                <a:gd name="T9" fmla="*/ 0 h 2485"/>
                <a:gd name="T10" fmla="*/ 76 w 1279"/>
                <a:gd name="T11" fmla="*/ 1262 h 2485"/>
                <a:gd name="T12" fmla="*/ 76 w 1279"/>
                <a:gd name="T13" fmla="*/ 1262 h 2485"/>
                <a:gd name="T14" fmla="*/ 65 w 1279"/>
                <a:gd name="T15" fmla="*/ 1314 h 2485"/>
                <a:gd name="T16" fmla="*/ 858 w 1279"/>
                <a:gd name="T17" fmla="*/ 2485 h 2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79" h="2485">
                  <a:moveTo>
                    <a:pt x="858" y="2485"/>
                  </a:moveTo>
                  <a:cubicBezTo>
                    <a:pt x="870" y="2431"/>
                    <a:pt x="882" y="2381"/>
                    <a:pt x="894" y="2334"/>
                  </a:cubicBezTo>
                  <a:cubicBezTo>
                    <a:pt x="894" y="2335"/>
                    <a:pt x="893" y="2336"/>
                    <a:pt x="893" y="2337"/>
                  </a:cubicBezTo>
                  <a:cubicBezTo>
                    <a:pt x="965" y="2050"/>
                    <a:pt x="1035" y="1868"/>
                    <a:pt x="1135" y="1510"/>
                  </a:cubicBezTo>
                  <a:cubicBezTo>
                    <a:pt x="1279" y="973"/>
                    <a:pt x="642" y="0"/>
                    <a:pt x="642" y="0"/>
                  </a:cubicBezTo>
                  <a:cubicBezTo>
                    <a:pt x="399" y="447"/>
                    <a:pt x="193" y="672"/>
                    <a:pt x="76" y="1262"/>
                  </a:cubicBezTo>
                  <a:cubicBezTo>
                    <a:pt x="76" y="1262"/>
                    <a:pt x="76" y="1262"/>
                    <a:pt x="76" y="1262"/>
                  </a:cubicBezTo>
                  <a:cubicBezTo>
                    <a:pt x="72" y="1279"/>
                    <a:pt x="69" y="1296"/>
                    <a:pt x="65" y="1314"/>
                  </a:cubicBezTo>
                  <a:cubicBezTo>
                    <a:pt x="0" y="1862"/>
                    <a:pt x="858" y="2485"/>
                    <a:pt x="858" y="2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0" name="Freeform 46">
              <a:extLst>
                <a:ext uri="{FF2B5EF4-FFF2-40B4-BE49-F238E27FC236}">
                  <a16:creationId xmlns:a16="http://schemas.microsoft.com/office/drawing/2014/main" id="{B68C628D-18DE-4FCC-83EE-5C84F53A0D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1763" y="3424238"/>
              <a:ext cx="501650" cy="808038"/>
            </a:xfrm>
            <a:custGeom>
              <a:avLst/>
              <a:gdLst>
                <a:gd name="T0" fmla="*/ 1283 w 1340"/>
                <a:gd name="T1" fmla="*/ 1927 h 2148"/>
                <a:gd name="T2" fmla="*/ 1129 w 1340"/>
                <a:gd name="T3" fmla="*/ 1006 h 2148"/>
                <a:gd name="T4" fmla="*/ 48 w 1340"/>
                <a:gd name="T5" fmla="*/ 26 h 2148"/>
                <a:gd name="T6" fmla="*/ 3 w 1340"/>
                <a:gd name="T7" fmla="*/ 0 h 2148"/>
                <a:gd name="T8" fmla="*/ 1 w 1340"/>
                <a:gd name="T9" fmla="*/ 62 h 2148"/>
                <a:gd name="T10" fmla="*/ 9 w 1340"/>
                <a:gd name="T11" fmla="*/ 691 h 2148"/>
                <a:gd name="T12" fmla="*/ 9 w 1340"/>
                <a:gd name="T13" fmla="*/ 691 h 2148"/>
                <a:gd name="T14" fmla="*/ 118 w 1340"/>
                <a:gd name="T15" fmla="*/ 1527 h 2148"/>
                <a:gd name="T16" fmla="*/ 1340 w 1340"/>
                <a:gd name="T17" fmla="*/ 2148 h 2148"/>
                <a:gd name="T18" fmla="*/ 1283 w 1340"/>
                <a:gd name="T19" fmla="*/ 1927 h 2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0" h="2148">
                  <a:moveTo>
                    <a:pt x="1283" y="1927"/>
                  </a:moveTo>
                  <a:cubicBezTo>
                    <a:pt x="1212" y="1637"/>
                    <a:pt x="1173" y="1419"/>
                    <a:pt x="1129" y="1006"/>
                  </a:cubicBezTo>
                  <a:cubicBezTo>
                    <a:pt x="1090" y="607"/>
                    <a:pt x="213" y="115"/>
                    <a:pt x="48" y="26"/>
                  </a:cubicBezTo>
                  <a:cubicBezTo>
                    <a:pt x="30" y="16"/>
                    <a:pt x="3" y="0"/>
                    <a:pt x="3" y="0"/>
                  </a:cubicBezTo>
                  <a:cubicBezTo>
                    <a:pt x="3" y="0"/>
                    <a:pt x="1" y="11"/>
                    <a:pt x="1" y="62"/>
                  </a:cubicBezTo>
                  <a:cubicBezTo>
                    <a:pt x="1" y="283"/>
                    <a:pt x="0" y="485"/>
                    <a:pt x="9" y="691"/>
                  </a:cubicBezTo>
                  <a:cubicBezTo>
                    <a:pt x="9" y="691"/>
                    <a:pt x="9" y="691"/>
                    <a:pt x="9" y="691"/>
                  </a:cubicBezTo>
                  <a:cubicBezTo>
                    <a:pt x="21" y="949"/>
                    <a:pt x="49" y="1212"/>
                    <a:pt x="118" y="1527"/>
                  </a:cubicBezTo>
                  <a:cubicBezTo>
                    <a:pt x="194" y="1819"/>
                    <a:pt x="602" y="2026"/>
                    <a:pt x="1340" y="2148"/>
                  </a:cubicBezTo>
                  <a:cubicBezTo>
                    <a:pt x="1319" y="2068"/>
                    <a:pt x="1300" y="1995"/>
                    <a:pt x="1283" y="19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1" name="Freeform 47">
              <a:extLst>
                <a:ext uri="{FF2B5EF4-FFF2-40B4-BE49-F238E27FC236}">
                  <a16:creationId xmlns:a16="http://schemas.microsoft.com/office/drawing/2014/main" id="{C00A6AEF-18C2-49D1-B766-275604BC78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888413" y="1858963"/>
              <a:ext cx="477838" cy="933450"/>
            </a:xfrm>
            <a:custGeom>
              <a:avLst/>
              <a:gdLst>
                <a:gd name="T0" fmla="*/ 143 w 1278"/>
                <a:gd name="T1" fmla="*/ 1510 h 2485"/>
                <a:gd name="T2" fmla="*/ 385 w 1278"/>
                <a:gd name="T3" fmla="*/ 2337 h 2485"/>
                <a:gd name="T4" fmla="*/ 385 w 1278"/>
                <a:gd name="T5" fmla="*/ 2334 h 2485"/>
                <a:gd name="T6" fmla="*/ 421 w 1278"/>
                <a:gd name="T7" fmla="*/ 2485 h 2485"/>
                <a:gd name="T8" fmla="*/ 1213 w 1278"/>
                <a:gd name="T9" fmla="*/ 1314 h 2485"/>
                <a:gd name="T10" fmla="*/ 1203 w 1278"/>
                <a:gd name="T11" fmla="*/ 1261 h 2485"/>
                <a:gd name="T12" fmla="*/ 1203 w 1278"/>
                <a:gd name="T13" fmla="*/ 1262 h 2485"/>
                <a:gd name="T14" fmla="*/ 636 w 1278"/>
                <a:gd name="T15" fmla="*/ 0 h 2485"/>
                <a:gd name="T16" fmla="*/ 143 w 1278"/>
                <a:gd name="T17" fmla="*/ 1510 h 2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78" h="2485">
                  <a:moveTo>
                    <a:pt x="143" y="1510"/>
                  </a:moveTo>
                  <a:cubicBezTo>
                    <a:pt x="243" y="1868"/>
                    <a:pt x="314" y="2050"/>
                    <a:pt x="385" y="2337"/>
                  </a:cubicBezTo>
                  <a:cubicBezTo>
                    <a:pt x="385" y="2336"/>
                    <a:pt x="385" y="2335"/>
                    <a:pt x="385" y="2334"/>
                  </a:cubicBezTo>
                  <a:cubicBezTo>
                    <a:pt x="396" y="2381"/>
                    <a:pt x="408" y="2431"/>
                    <a:pt x="421" y="2485"/>
                  </a:cubicBezTo>
                  <a:cubicBezTo>
                    <a:pt x="421" y="2485"/>
                    <a:pt x="1278" y="1862"/>
                    <a:pt x="1213" y="1314"/>
                  </a:cubicBezTo>
                  <a:cubicBezTo>
                    <a:pt x="1210" y="1296"/>
                    <a:pt x="1206" y="1279"/>
                    <a:pt x="1203" y="1261"/>
                  </a:cubicBezTo>
                  <a:cubicBezTo>
                    <a:pt x="1203" y="1262"/>
                    <a:pt x="1203" y="1262"/>
                    <a:pt x="1203" y="1262"/>
                  </a:cubicBezTo>
                  <a:cubicBezTo>
                    <a:pt x="1086" y="672"/>
                    <a:pt x="880" y="447"/>
                    <a:pt x="636" y="0"/>
                  </a:cubicBezTo>
                  <a:cubicBezTo>
                    <a:pt x="636" y="0"/>
                    <a:pt x="0" y="973"/>
                    <a:pt x="143" y="15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2" name="Freeform 48">
              <a:extLst>
                <a:ext uri="{FF2B5EF4-FFF2-40B4-BE49-F238E27FC236}">
                  <a16:creationId xmlns:a16="http://schemas.microsoft.com/office/drawing/2014/main" id="{9491359C-A1FC-4D0F-B503-2AA01E0B50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78913" y="2582863"/>
              <a:ext cx="430213" cy="928688"/>
            </a:xfrm>
            <a:custGeom>
              <a:avLst/>
              <a:gdLst>
                <a:gd name="T0" fmla="*/ 96 w 1147"/>
                <a:gd name="T1" fmla="*/ 2139 h 2470"/>
                <a:gd name="T2" fmla="*/ 103 w 1147"/>
                <a:gd name="T3" fmla="*/ 2256 h 2470"/>
                <a:gd name="T4" fmla="*/ 104 w 1147"/>
                <a:gd name="T5" fmla="*/ 2322 h 2470"/>
                <a:gd name="T6" fmla="*/ 102 w 1147"/>
                <a:gd name="T7" fmla="*/ 2470 h 2470"/>
                <a:gd name="T8" fmla="*/ 1146 w 1147"/>
                <a:gd name="T9" fmla="*/ 1534 h 2470"/>
                <a:gd name="T10" fmla="*/ 1147 w 1147"/>
                <a:gd name="T11" fmla="*/ 1459 h 2470"/>
                <a:gd name="T12" fmla="*/ 1147 w 1147"/>
                <a:gd name="T13" fmla="*/ 1380 h 2470"/>
                <a:gd name="T14" fmla="*/ 894 w 1147"/>
                <a:gd name="T15" fmla="*/ 0 h 2470"/>
                <a:gd name="T16" fmla="*/ 50 w 1147"/>
                <a:gd name="T17" fmla="*/ 1247 h 2470"/>
                <a:gd name="T18" fmla="*/ 96 w 1147"/>
                <a:gd name="T19" fmla="*/ 2139 h 2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7" h="2470">
                  <a:moveTo>
                    <a:pt x="96" y="2139"/>
                  </a:moveTo>
                  <a:cubicBezTo>
                    <a:pt x="100" y="2186"/>
                    <a:pt x="102" y="2248"/>
                    <a:pt x="103" y="2256"/>
                  </a:cubicBezTo>
                  <a:cubicBezTo>
                    <a:pt x="103" y="2277"/>
                    <a:pt x="104" y="2299"/>
                    <a:pt x="104" y="2322"/>
                  </a:cubicBezTo>
                  <a:cubicBezTo>
                    <a:pt x="104" y="2371"/>
                    <a:pt x="104" y="2421"/>
                    <a:pt x="102" y="2470"/>
                  </a:cubicBezTo>
                  <a:cubicBezTo>
                    <a:pt x="102" y="2470"/>
                    <a:pt x="1135" y="1970"/>
                    <a:pt x="1146" y="1534"/>
                  </a:cubicBezTo>
                  <a:cubicBezTo>
                    <a:pt x="1147" y="1508"/>
                    <a:pt x="1147" y="1484"/>
                    <a:pt x="1147" y="1459"/>
                  </a:cubicBezTo>
                  <a:cubicBezTo>
                    <a:pt x="1147" y="1484"/>
                    <a:pt x="1147" y="1429"/>
                    <a:pt x="1147" y="1380"/>
                  </a:cubicBezTo>
                  <a:cubicBezTo>
                    <a:pt x="1138" y="838"/>
                    <a:pt x="1021" y="474"/>
                    <a:pt x="894" y="0"/>
                  </a:cubicBezTo>
                  <a:cubicBezTo>
                    <a:pt x="894" y="0"/>
                    <a:pt x="145" y="770"/>
                    <a:pt x="50" y="1247"/>
                  </a:cubicBezTo>
                  <a:cubicBezTo>
                    <a:pt x="0" y="1666"/>
                    <a:pt x="70" y="1850"/>
                    <a:pt x="96" y="21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3" name="Freeform 49">
              <a:extLst>
                <a:ext uri="{FF2B5EF4-FFF2-40B4-BE49-F238E27FC236}">
                  <a16:creationId xmlns:a16="http://schemas.microsoft.com/office/drawing/2014/main" id="{BAC6D7ED-C96C-4A07-B408-750757556B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18588" y="3424238"/>
              <a:ext cx="501650" cy="808038"/>
            </a:xfrm>
            <a:custGeom>
              <a:avLst/>
              <a:gdLst>
                <a:gd name="T0" fmla="*/ 1339 w 1340"/>
                <a:gd name="T1" fmla="*/ 62 h 2148"/>
                <a:gd name="T2" fmla="*/ 1338 w 1340"/>
                <a:gd name="T3" fmla="*/ 0 h 2148"/>
                <a:gd name="T4" fmla="*/ 1293 w 1340"/>
                <a:gd name="T5" fmla="*/ 26 h 2148"/>
                <a:gd name="T6" fmla="*/ 212 w 1340"/>
                <a:gd name="T7" fmla="*/ 1006 h 2148"/>
                <a:gd name="T8" fmla="*/ 57 w 1340"/>
                <a:gd name="T9" fmla="*/ 1927 h 2148"/>
                <a:gd name="T10" fmla="*/ 0 w 1340"/>
                <a:gd name="T11" fmla="*/ 2148 h 2148"/>
                <a:gd name="T12" fmla="*/ 1223 w 1340"/>
                <a:gd name="T13" fmla="*/ 1527 h 2148"/>
                <a:gd name="T14" fmla="*/ 1331 w 1340"/>
                <a:gd name="T15" fmla="*/ 691 h 2148"/>
                <a:gd name="T16" fmla="*/ 1331 w 1340"/>
                <a:gd name="T17" fmla="*/ 691 h 2148"/>
                <a:gd name="T18" fmla="*/ 1339 w 1340"/>
                <a:gd name="T19" fmla="*/ 62 h 2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0" h="2148">
                  <a:moveTo>
                    <a:pt x="1339" y="62"/>
                  </a:moveTo>
                  <a:cubicBezTo>
                    <a:pt x="1339" y="11"/>
                    <a:pt x="1338" y="0"/>
                    <a:pt x="1338" y="0"/>
                  </a:cubicBezTo>
                  <a:cubicBezTo>
                    <a:pt x="1338" y="0"/>
                    <a:pt x="1310" y="16"/>
                    <a:pt x="1293" y="26"/>
                  </a:cubicBezTo>
                  <a:cubicBezTo>
                    <a:pt x="1128" y="115"/>
                    <a:pt x="251" y="607"/>
                    <a:pt x="212" y="1006"/>
                  </a:cubicBezTo>
                  <a:cubicBezTo>
                    <a:pt x="167" y="1419"/>
                    <a:pt x="129" y="1637"/>
                    <a:pt x="57" y="1927"/>
                  </a:cubicBezTo>
                  <a:cubicBezTo>
                    <a:pt x="40" y="1995"/>
                    <a:pt x="21" y="2068"/>
                    <a:pt x="0" y="2148"/>
                  </a:cubicBezTo>
                  <a:cubicBezTo>
                    <a:pt x="739" y="2026"/>
                    <a:pt x="1146" y="1819"/>
                    <a:pt x="1223" y="1527"/>
                  </a:cubicBezTo>
                  <a:cubicBezTo>
                    <a:pt x="1292" y="1212"/>
                    <a:pt x="1320" y="949"/>
                    <a:pt x="1331" y="691"/>
                  </a:cubicBezTo>
                  <a:cubicBezTo>
                    <a:pt x="1331" y="691"/>
                    <a:pt x="1331" y="691"/>
                    <a:pt x="1331" y="691"/>
                  </a:cubicBezTo>
                  <a:cubicBezTo>
                    <a:pt x="1340" y="485"/>
                    <a:pt x="1339" y="283"/>
                    <a:pt x="1339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4" name="Freeform 50">
              <a:extLst>
                <a:ext uri="{FF2B5EF4-FFF2-40B4-BE49-F238E27FC236}">
                  <a16:creationId xmlns:a16="http://schemas.microsoft.com/office/drawing/2014/main" id="{0AA57DEB-D72C-4A11-B884-D261296963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740776" y="4268788"/>
              <a:ext cx="673100" cy="639763"/>
            </a:xfrm>
            <a:custGeom>
              <a:avLst/>
              <a:gdLst>
                <a:gd name="T0" fmla="*/ 500 w 1795"/>
                <a:gd name="T1" fmla="*/ 657 h 1703"/>
                <a:gd name="T2" fmla="*/ 132 w 1795"/>
                <a:gd name="T3" fmla="*/ 1459 h 1703"/>
                <a:gd name="T4" fmla="*/ 0 w 1795"/>
                <a:gd name="T5" fmla="*/ 1703 h 1703"/>
                <a:gd name="T6" fmla="*/ 1382 w 1795"/>
                <a:gd name="T7" fmla="*/ 1306 h 1703"/>
                <a:gd name="T8" fmla="*/ 1765 w 1795"/>
                <a:gd name="T9" fmla="*/ 132 h 1703"/>
                <a:gd name="T10" fmla="*/ 1765 w 1795"/>
                <a:gd name="T11" fmla="*/ 132 h 1703"/>
                <a:gd name="T12" fmla="*/ 1795 w 1795"/>
                <a:gd name="T13" fmla="*/ 0 h 1703"/>
                <a:gd name="T14" fmla="*/ 500 w 1795"/>
                <a:gd name="T15" fmla="*/ 657 h 1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95" h="1703">
                  <a:moveTo>
                    <a:pt x="500" y="657"/>
                  </a:moveTo>
                  <a:cubicBezTo>
                    <a:pt x="359" y="1007"/>
                    <a:pt x="263" y="1210"/>
                    <a:pt x="132" y="1459"/>
                  </a:cubicBezTo>
                  <a:cubicBezTo>
                    <a:pt x="92" y="1534"/>
                    <a:pt x="49" y="1614"/>
                    <a:pt x="0" y="1703"/>
                  </a:cubicBezTo>
                  <a:cubicBezTo>
                    <a:pt x="0" y="1703"/>
                    <a:pt x="1221" y="1646"/>
                    <a:pt x="1382" y="1306"/>
                  </a:cubicBezTo>
                  <a:cubicBezTo>
                    <a:pt x="1614" y="793"/>
                    <a:pt x="1667" y="569"/>
                    <a:pt x="1765" y="132"/>
                  </a:cubicBezTo>
                  <a:cubicBezTo>
                    <a:pt x="1765" y="132"/>
                    <a:pt x="1765" y="132"/>
                    <a:pt x="1765" y="132"/>
                  </a:cubicBezTo>
                  <a:cubicBezTo>
                    <a:pt x="1775" y="90"/>
                    <a:pt x="1784" y="46"/>
                    <a:pt x="1795" y="0"/>
                  </a:cubicBezTo>
                  <a:cubicBezTo>
                    <a:pt x="1795" y="0"/>
                    <a:pt x="666" y="253"/>
                    <a:pt x="500" y="6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5" name="Freeform 51">
              <a:extLst>
                <a:ext uri="{FF2B5EF4-FFF2-40B4-BE49-F238E27FC236}">
                  <a16:creationId xmlns:a16="http://schemas.microsoft.com/office/drawing/2014/main" id="{E981AAB0-73E2-4111-8583-6EF440FB72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1226" y="3435350"/>
              <a:ext cx="431800" cy="779463"/>
            </a:xfrm>
            <a:custGeom>
              <a:avLst/>
              <a:gdLst>
                <a:gd name="T0" fmla="*/ 14 w 1152"/>
                <a:gd name="T1" fmla="*/ 899 h 2076"/>
                <a:gd name="T2" fmla="*/ 872 w 1152"/>
                <a:gd name="T3" fmla="*/ 2076 h 2076"/>
                <a:gd name="T4" fmla="*/ 1151 w 1152"/>
                <a:gd name="T5" fmla="*/ 1064 h 2076"/>
                <a:gd name="T6" fmla="*/ 1136 w 1152"/>
                <a:gd name="T7" fmla="*/ 851 h 2076"/>
                <a:gd name="T8" fmla="*/ 124 w 1152"/>
                <a:gd name="T9" fmla="*/ 24 h 2076"/>
                <a:gd name="T10" fmla="*/ 72 w 1152"/>
                <a:gd name="T11" fmla="*/ 0 h 2076"/>
                <a:gd name="T12" fmla="*/ 71 w 1152"/>
                <a:gd name="T13" fmla="*/ 33 h 2076"/>
                <a:gd name="T14" fmla="*/ 14 w 1152"/>
                <a:gd name="T15" fmla="*/ 891 h 2076"/>
                <a:gd name="T16" fmla="*/ 14 w 1152"/>
                <a:gd name="T17" fmla="*/ 891 h 2076"/>
                <a:gd name="T18" fmla="*/ 14 w 1152"/>
                <a:gd name="T19" fmla="*/ 891 h 2076"/>
                <a:gd name="T20" fmla="*/ 14 w 1152"/>
                <a:gd name="T21" fmla="*/ 899 h 20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52" h="2076">
                  <a:moveTo>
                    <a:pt x="14" y="899"/>
                  </a:moveTo>
                  <a:cubicBezTo>
                    <a:pt x="33" y="1306"/>
                    <a:pt x="872" y="2076"/>
                    <a:pt x="872" y="2076"/>
                  </a:cubicBezTo>
                  <a:cubicBezTo>
                    <a:pt x="972" y="1712"/>
                    <a:pt x="1150" y="1457"/>
                    <a:pt x="1151" y="1064"/>
                  </a:cubicBezTo>
                  <a:cubicBezTo>
                    <a:pt x="1152" y="997"/>
                    <a:pt x="1147" y="927"/>
                    <a:pt x="1136" y="851"/>
                  </a:cubicBezTo>
                  <a:cubicBezTo>
                    <a:pt x="1073" y="487"/>
                    <a:pt x="285" y="100"/>
                    <a:pt x="124" y="24"/>
                  </a:cubicBezTo>
                  <a:cubicBezTo>
                    <a:pt x="105" y="15"/>
                    <a:pt x="72" y="0"/>
                    <a:pt x="72" y="0"/>
                  </a:cubicBezTo>
                  <a:cubicBezTo>
                    <a:pt x="72" y="0"/>
                    <a:pt x="71" y="4"/>
                    <a:pt x="71" y="33"/>
                  </a:cubicBezTo>
                  <a:cubicBezTo>
                    <a:pt x="71" y="324"/>
                    <a:pt x="0" y="514"/>
                    <a:pt x="14" y="891"/>
                  </a:cubicBezTo>
                  <a:cubicBezTo>
                    <a:pt x="14" y="891"/>
                    <a:pt x="14" y="891"/>
                    <a:pt x="14" y="891"/>
                  </a:cubicBezTo>
                  <a:cubicBezTo>
                    <a:pt x="14" y="891"/>
                    <a:pt x="14" y="891"/>
                    <a:pt x="14" y="891"/>
                  </a:cubicBezTo>
                  <a:cubicBezTo>
                    <a:pt x="14" y="894"/>
                    <a:pt x="14" y="896"/>
                    <a:pt x="14" y="8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6" name="Freeform 52">
              <a:extLst>
                <a:ext uri="{FF2B5EF4-FFF2-40B4-BE49-F238E27FC236}">
                  <a16:creationId xmlns:a16="http://schemas.microsoft.com/office/drawing/2014/main" id="{08649037-F968-4C16-B53F-A530453B73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91538" y="2870200"/>
              <a:ext cx="490538" cy="647700"/>
            </a:xfrm>
            <a:custGeom>
              <a:avLst/>
              <a:gdLst>
                <a:gd name="T0" fmla="*/ 1194 w 1307"/>
                <a:gd name="T1" fmla="*/ 530 h 1722"/>
                <a:gd name="T2" fmla="*/ 0 w 1307"/>
                <a:gd name="T3" fmla="*/ 0 h 1722"/>
                <a:gd name="T4" fmla="*/ 50 w 1307"/>
                <a:gd name="T5" fmla="*/ 513 h 1722"/>
                <a:gd name="T6" fmla="*/ 50 w 1307"/>
                <a:gd name="T7" fmla="*/ 513 h 1722"/>
                <a:gd name="T8" fmla="*/ 50 w 1307"/>
                <a:gd name="T9" fmla="*/ 512 h 1722"/>
                <a:gd name="T10" fmla="*/ 138 w 1307"/>
                <a:gd name="T11" fmla="*/ 828 h 1722"/>
                <a:gd name="T12" fmla="*/ 1246 w 1307"/>
                <a:gd name="T13" fmla="*/ 1722 h 1722"/>
                <a:gd name="T14" fmla="*/ 1248 w 1307"/>
                <a:gd name="T15" fmla="*/ 1558 h 1722"/>
                <a:gd name="T16" fmla="*/ 1248 w 1307"/>
                <a:gd name="T17" fmla="*/ 1522 h 1722"/>
                <a:gd name="T18" fmla="*/ 1253 w 1307"/>
                <a:gd name="T19" fmla="*/ 1373 h 1722"/>
                <a:gd name="T20" fmla="*/ 1194 w 1307"/>
                <a:gd name="T21" fmla="*/ 530 h 1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07" h="1722">
                  <a:moveTo>
                    <a:pt x="1194" y="530"/>
                  </a:moveTo>
                  <a:cubicBezTo>
                    <a:pt x="1037" y="162"/>
                    <a:pt x="0" y="0"/>
                    <a:pt x="0" y="0"/>
                  </a:cubicBezTo>
                  <a:cubicBezTo>
                    <a:pt x="53" y="209"/>
                    <a:pt x="20" y="321"/>
                    <a:pt x="50" y="513"/>
                  </a:cubicBezTo>
                  <a:cubicBezTo>
                    <a:pt x="50" y="513"/>
                    <a:pt x="50" y="513"/>
                    <a:pt x="50" y="513"/>
                  </a:cubicBezTo>
                  <a:cubicBezTo>
                    <a:pt x="50" y="512"/>
                    <a:pt x="50" y="512"/>
                    <a:pt x="50" y="512"/>
                  </a:cubicBezTo>
                  <a:cubicBezTo>
                    <a:pt x="63" y="597"/>
                    <a:pt x="88" y="697"/>
                    <a:pt x="138" y="828"/>
                  </a:cubicBezTo>
                  <a:cubicBezTo>
                    <a:pt x="277" y="1166"/>
                    <a:pt x="1246" y="1722"/>
                    <a:pt x="1246" y="1722"/>
                  </a:cubicBezTo>
                  <a:cubicBezTo>
                    <a:pt x="1247" y="1667"/>
                    <a:pt x="1248" y="1613"/>
                    <a:pt x="1248" y="1558"/>
                  </a:cubicBezTo>
                  <a:cubicBezTo>
                    <a:pt x="1248" y="1546"/>
                    <a:pt x="1248" y="1534"/>
                    <a:pt x="1248" y="1522"/>
                  </a:cubicBezTo>
                  <a:cubicBezTo>
                    <a:pt x="1248" y="1534"/>
                    <a:pt x="1250" y="1432"/>
                    <a:pt x="1253" y="1373"/>
                  </a:cubicBezTo>
                  <a:cubicBezTo>
                    <a:pt x="1269" y="1081"/>
                    <a:pt x="1307" y="840"/>
                    <a:pt x="1194" y="5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7" name="Freeform 53">
              <a:extLst>
                <a:ext uri="{FF2B5EF4-FFF2-40B4-BE49-F238E27FC236}">
                  <a16:creationId xmlns:a16="http://schemas.microsoft.com/office/drawing/2014/main" id="{19C78A1F-6FD9-4C0A-912E-B937B8C7C21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93101" y="2300288"/>
              <a:ext cx="600075" cy="536575"/>
            </a:xfrm>
            <a:custGeom>
              <a:avLst/>
              <a:gdLst>
                <a:gd name="T0" fmla="*/ 46 w 1602"/>
                <a:gd name="T1" fmla="*/ 197 h 1426"/>
                <a:gd name="T2" fmla="*/ 335 w 1602"/>
                <a:gd name="T3" fmla="*/ 865 h 1426"/>
                <a:gd name="T4" fmla="*/ 1602 w 1602"/>
                <a:gd name="T5" fmla="*/ 1426 h 1426"/>
                <a:gd name="T6" fmla="*/ 1566 w 1602"/>
                <a:gd name="T7" fmla="*/ 1252 h 1426"/>
                <a:gd name="T8" fmla="*/ 1257 w 1602"/>
                <a:gd name="T9" fmla="*/ 298 h 1426"/>
                <a:gd name="T10" fmla="*/ 0 w 1602"/>
                <a:gd name="T11" fmla="*/ 101 h 1426"/>
                <a:gd name="T12" fmla="*/ 46 w 1602"/>
                <a:gd name="T13" fmla="*/ 197 h 1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2" h="1426">
                  <a:moveTo>
                    <a:pt x="46" y="197"/>
                  </a:moveTo>
                  <a:cubicBezTo>
                    <a:pt x="141" y="408"/>
                    <a:pt x="164" y="561"/>
                    <a:pt x="335" y="865"/>
                  </a:cubicBezTo>
                  <a:cubicBezTo>
                    <a:pt x="563" y="1217"/>
                    <a:pt x="1602" y="1426"/>
                    <a:pt x="1602" y="1426"/>
                  </a:cubicBezTo>
                  <a:cubicBezTo>
                    <a:pt x="1589" y="1368"/>
                    <a:pt x="1577" y="1310"/>
                    <a:pt x="1566" y="1252"/>
                  </a:cubicBezTo>
                  <a:cubicBezTo>
                    <a:pt x="1497" y="904"/>
                    <a:pt x="1444" y="573"/>
                    <a:pt x="1257" y="298"/>
                  </a:cubicBezTo>
                  <a:cubicBezTo>
                    <a:pt x="1026" y="0"/>
                    <a:pt x="0" y="101"/>
                    <a:pt x="0" y="101"/>
                  </a:cubicBezTo>
                  <a:cubicBezTo>
                    <a:pt x="17" y="135"/>
                    <a:pt x="32" y="166"/>
                    <a:pt x="46" y="1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8" name="Freeform 54">
              <a:extLst>
                <a:ext uri="{FF2B5EF4-FFF2-40B4-BE49-F238E27FC236}">
                  <a16:creationId xmlns:a16="http://schemas.microsoft.com/office/drawing/2014/main" id="{35CB6CD9-31D6-46CD-ACA8-9BE292E37E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54963" y="1792288"/>
              <a:ext cx="720725" cy="425450"/>
            </a:xfrm>
            <a:custGeom>
              <a:avLst/>
              <a:gdLst>
                <a:gd name="T0" fmla="*/ 1921 w 1921"/>
                <a:gd name="T1" fmla="*/ 1106 h 1131"/>
                <a:gd name="T2" fmla="*/ 1839 w 1921"/>
                <a:gd name="T3" fmla="*/ 926 h 1131"/>
                <a:gd name="T4" fmla="*/ 1392 w 1921"/>
                <a:gd name="T5" fmla="*/ 172 h 1131"/>
                <a:gd name="T6" fmla="*/ 111 w 1921"/>
                <a:gd name="T7" fmla="*/ 80 h 1131"/>
                <a:gd name="T8" fmla="*/ 0 w 1921"/>
                <a:gd name="T9" fmla="*/ 91 h 1131"/>
                <a:gd name="T10" fmla="*/ 595 w 1921"/>
                <a:gd name="T11" fmla="*/ 898 h 1131"/>
                <a:gd name="T12" fmla="*/ 1921 w 1921"/>
                <a:gd name="T13" fmla="*/ 1106 h 1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1" h="1131">
                  <a:moveTo>
                    <a:pt x="1921" y="1106"/>
                  </a:moveTo>
                  <a:cubicBezTo>
                    <a:pt x="1891" y="1043"/>
                    <a:pt x="1864" y="984"/>
                    <a:pt x="1839" y="926"/>
                  </a:cubicBezTo>
                  <a:cubicBezTo>
                    <a:pt x="1840" y="929"/>
                    <a:pt x="1648" y="461"/>
                    <a:pt x="1392" y="172"/>
                  </a:cubicBezTo>
                  <a:cubicBezTo>
                    <a:pt x="1214" y="0"/>
                    <a:pt x="408" y="53"/>
                    <a:pt x="111" y="80"/>
                  </a:cubicBezTo>
                  <a:cubicBezTo>
                    <a:pt x="42" y="86"/>
                    <a:pt x="0" y="91"/>
                    <a:pt x="0" y="91"/>
                  </a:cubicBezTo>
                  <a:cubicBezTo>
                    <a:pt x="206" y="331"/>
                    <a:pt x="314" y="609"/>
                    <a:pt x="595" y="898"/>
                  </a:cubicBezTo>
                  <a:cubicBezTo>
                    <a:pt x="803" y="1131"/>
                    <a:pt x="1921" y="1106"/>
                    <a:pt x="1921" y="11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9" name="Freeform 55">
              <a:extLst>
                <a:ext uri="{FF2B5EF4-FFF2-40B4-BE49-F238E27FC236}">
                  <a16:creationId xmlns:a16="http://schemas.microsoft.com/office/drawing/2014/main" id="{3F4CECA4-62A7-45CF-A8A8-376D4B3653F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93113" y="4027488"/>
              <a:ext cx="401638" cy="833438"/>
            </a:xfrm>
            <a:custGeom>
              <a:avLst/>
              <a:gdLst>
                <a:gd name="T0" fmla="*/ 1066 w 1072"/>
                <a:gd name="T1" fmla="*/ 1065 h 2219"/>
                <a:gd name="T2" fmla="*/ 1066 w 1072"/>
                <a:gd name="T3" fmla="*/ 1065 h 2219"/>
                <a:gd name="T4" fmla="*/ 1066 w 1072"/>
                <a:gd name="T5" fmla="*/ 1065 h 2219"/>
                <a:gd name="T6" fmla="*/ 1066 w 1072"/>
                <a:gd name="T7" fmla="*/ 1065 h 2219"/>
                <a:gd name="T8" fmla="*/ 1066 w 1072"/>
                <a:gd name="T9" fmla="*/ 1065 h 2219"/>
                <a:gd name="T10" fmla="*/ 263 w 1072"/>
                <a:gd name="T11" fmla="*/ 0 h 2219"/>
                <a:gd name="T12" fmla="*/ 0 w 1072"/>
                <a:gd name="T13" fmla="*/ 817 h 2219"/>
                <a:gd name="T14" fmla="*/ 6 w 1072"/>
                <a:gd name="T15" fmla="*/ 904 h 2219"/>
                <a:gd name="T16" fmla="*/ 556 w 1072"/>
                <a:gd name="T17" fmla="*/ 2219 h 2219"/>
                <a:gd name="T18" fmla="*/ 1065 w 1072"/>
                <a:gd name="T19" fmla="*/ 1100 h 2219"/>
                <a:gd name="T20" fmla="*/ 1066 w 1072"/>
                <a:gd name="T21" fmla="*/ 1065 h 2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72" h="2219">
                  <a:moveTo>
                    <a:pt x="1066" y="1065"/>
                  </a:moveTo>
                  <a:cubicBezTo>
                    <a:pt x="1066" y="1065"/>
                    <a:pt x="1066" y="1065"/>
                    <a:pt x="1066" y="1065"/>
                  </a:cubicBezTo>
                  <a:cubicBezTo>
                    <a:pt x="1066" y="1065"/>
                    <a:pt x="1066" y="1065"/>
                    <a:pt x="1066" y="1065"/>
                  </a:cubicBezTo>
                  <a:cubicBezTo>
                    <a:pt x="1066" y="1065"/>
                    <a:pt x="1066" y="1065"/>
                    <a:pt x="1066" y="1065"/>
                  </a:cubicBezTo>
                  <a:cubicBezTo>
                    <a:pt x="1066" y="1065"/>
                    <a:pt x="1066" y="1065"/>
                    <a:pt x="1066" y="1065"/>
                  </a:cubicBezTo>
                  <a:cubicBezTo>
                    <a:pt x="1072" y="590"/>
                    <a:pt x="263" y="0"/>
                    <a:pt x="263" y="0"/>
                  </a:cubicBezTo>
                  <a:cubicBezTo>
                    <a:pt x="191" y="318"/>
                    <a:pt x="28" y="413"/>
                    <a:pt x="0" y="817"/>
                  </a:cubicBezTo>
                  <a:cubicBezTo>
                    <a:pt x="1" y="845"/>
                    <a:pt x="3" y="874"/>
                    <a:pt x="6" y="904"/>
                  </a:cubicBezTo>
                  <a:cubicBezTo>
                    <a:pt x="67" y="1450"/>
                    <a:pt x="556" y="2219"/>
                    <a:pt x="556" y="2219"/>
                  </a:cubicBezTo>
                  <a:cubicBezTo>
                    <a:pt x="760" y="1851"/>
                    <a:pt x="982" y="1606"/>
                    <a:pt x="1065" y="1100"/>
                  </a:cubicBezTo>
                  <a:cubicBezTo>
                    <a:pt x="1066" y="1088"/>
                    <a:pt x="1066" y="1077"/>
                    <a:pt x="1066" y="10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0" name="Freeform 56">
              <a:extLst>
                <a:ext uri="{FF2B5EF4-FFF2-40B4-BE49-F238E27FC236}">
                  <a16:creationId xmlns:a16="http://schemas.microsoft.com/office/drawing/2014/main" id="{E2663052-6C66-4D7D-A07A-36FF5EE36F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72501" y="1192213"/>
              <a:ext cx="434975" cy="952500"/>
            </a:xfrm>
            <a:custGeom>
              <a:avLst/>
              <a:gdLst>
                <a:gd name="T0" fmla="*/ 120 w 1162"/>
                <a:gd name="T1" fmla="*/ 1538 h 2537"/>
                <a:gd name="T2" fmla="*/ 668 w 1162"/>
                <a:gd name="T3" fmla="*/ 2537 h 2537"/>
                <a:gd name="T4" fmla="*/ 1153 w 1162"/>
                <a:gd name="T5" fmla="*/ 1376 h 2537"/>
                <a:gd name="T6" fmla="*/ 1153 w 1162"/>
                <a:gd name="T7" fmla="*/ 1376 h 2537"/>
                <a:gd name="T8" fmla="*/ 1127 w 1162"/>
                <a:gd name="T9" fmla="*/ 1133 h 2537"/>
                <a:gd name="T10" fmla="*/ 325 w 1162"/>
                <a:gd name="T11" fmla="*/ 0 h 2537"/>
                <a:gd name="T12" fmla="*/ 201 w 1162"/>
                <a:gd name="T13" fmla="*/ 364 h 2537"/>
                <a:gd name="T14" fmla="*/ 143 w 1162"/>
                <a:gd name="T15" fmla="*/ 577 h 2537"/>
                <a:gd name="T16" fmla="*/ 143 w 1162"/>
                <a:gd name="T17" fmla="*/ 576 h 2537"/>
                <a:gd name="T18" fmla="*/ 142 w 1162"/>
                <a:gd name="T19" fmla="*/ 581 h 2537"/>
                <a:gd name="T20" fmla="*/ 120 w 1162"/>
                <a:gd name="T21" fmla="*/ 1538 h 2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62" h="2537">
                  <a:moveTo>
                    <a:pt x="120" y="1538"/>
                  </a:moveTo>
                  <a:cubicBezTo>
                    <a:pt x="383" y="1936"/>
                    <a:pt x="490" y="2164"/>
                    <a:pt x="668" y="2537"/>
                  </a:cubicBezTo>
                  <a:cubicBezTo>
                    <a:pt x="668" y="2537"/>
                    <a:pt x="1110" y="1844"/>
                    <a:pt x="1153" y="1376"/>
                  </a:cubicBezTo>
                  <a:cubicBezTo>
                    <a:pt x="1153" y="1376"/>
                    <a:pt x="1153" y="1376"/>
                    <a:pt x="1153" y="1376"/>
                  </a:cubicBezTo>
                  <a:cubicBezTo>
                    <a:pt x="1162" y="1284"/>
                    <a:pt x="1155" y="1201"/>
                    <a:pt x="1127" y="1133"/>
                  </a:cubicBezTo>
                  <a:cubicBezTo>
                    <a:pt x="892" y="613"/>
                    <a:pt x="633" y="354"/>
                    <a:pt x="325" y="0"/>
                  </a:cubicBezTo>
                  <a:cubicBezTo>
                    <a:pt x="325" y="0"/>
                    <a:pt x="265" y="152"/>
                    <a:pt x="201" y="364"/>
                  </a:cubicBezTo>
                  <a:cubicBezTo>
                    <a:pt x="178" y="443"/>
                    <a:pt x="149" y="551"/>
                    <a:pt x="143" y="577"/>
                  </a:cubicBezTo>
                  <a:cubicBezTo>
                    <a:pt x="143" y="577"/>
                    <a:pt x="143" y="576"/>
                    <a:pt x="143" y="576"/>
                  </a:cubicBezTo>
                  <a:cubicBezTo>
                    <a:pt x="141" y="583"/>
                    <a:pt x="141" y="583"/>
                    <a:pt x="142" y="581"/>
                  </a:cubicBezTo>
                  <a:cubicBezTo>
                    <a:pt x="57" y="917"/>
                    <a:pt x="0" y="1317"/>
                    <a:pt x="120" y="15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1" name="Freeform 57">
              <a:extLst>
                <a:ext uri="{FF2B5EF4-FFF2-40B4-BE49-F238E27FC236}">
                  <a16:creationId xmlns:a16="http://schemas.microsoft.com/office/drawing/2014/main" id="{BC9E3C60-08B0-4AF4-9202-E9B3A05AF7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62451" y="2459038"/>
              <a:ext cx="1955800" cy="1947863"/>
            </a:xfrm>
            <a:custGeom>
              <a:avLst/>
              <a:gdLst>
                <a:gd name="T0" fmla="*/ 4370 w 5217"/>
                <a:gd name="T1" fmla="*/ 5187 h 5187"/>
                <a:gd name="T2" fmla="*/ 4130 w 5217"/>
                <a:gd name="T3" fmla="*/ 1971 h 5187"/>
                <a:gd name="T4" fmla="*/ 4092 w 5217"/>
                <a:gd name="T5" fmla="*/ 1072 h 5187"/>
                <a:gd name="T6" fmla="*/ 3890 w 5217"/>
                <a:gd name="T7" fmla="*/ 1904 h 5187"/>
                <a:gd name="T8" fmla="*/ 2945 w 5217"/>
                <a:gd name="T9" fmla="*/ 5187 h 5187"/>
                <a:gd name="T10" fmla="*/ 2211 w 5217"/>
                <a:gd name="T11" fmla="*/ 5187 h 5187"/>
                <a:gd name="T12" fmla="*/ 1349 w 5217"/>
                <a:gd name="T13" fmla="*/ 2046 h 5187"/>
                <a:gd name="T14" fmla="*/ 1124 w 5217"/>
                <a:gd name="T15" fmla="*/ 1064 h 5187"/>
                <a:gd name="T16" fmla="*/ 1072 w 5217"/>
                <a:gd name="T17" fmla="*/ 2054 h 5187"/>
                <a:gd name="T18" fmla="*/ 847 w 5217"/>
                <a:gd name="T19" fmla="*/ 5187 h 5187"/>
                <a:gd name="T20" fmla="*/ 0 w 5217"/>
                <a:gd name="T21" fmla="*/ 5187 h 5187"/>
                <a:gd name="T22" fmla="*/ 472 w 5217"/>
                <a:gd name="T23" fmla="*/ 0 h 5187"/>
                <a:gd name="T24" fmla="*/ 1619 w 5217"/>
                <a:gd name="T25" fmla="*/ 0 h 5187"/>
                <a:gd name="T26" fmla="*/ 2413 w 5217"/>
                <a:gd name="T27" fmla="*/ 2938 h 5187"/>
                <a:gd name="T28" fmla="*/ 2608 w 5217"/>
                <a:gd name="T29" fmla="*/ 3823 h 5187"/>
                <a:gd name="T30" fmla="*/ 2796 w 5217"/>
                <a:gd name="T31" fmla="*/ 2953 h 5187"/>
                <a:gd name="T32" fmla="*/ 3613 w 5217"/>
                <a:gd name="T33" fmla="*/ 0 h 5187"/>
                <a:gd name="T34" fmla="*/ 4759 w 5217"/>
                <a:gd name="T35" fmla="*/ 0 h 5187"/>
                <a:gd name="T36" fmla="*/ 5217 w 5217"/>
                <a:gd name="T37" fmla="*/ 5187 h 5187"/>
                <a:gd name="T38" fmla="*/ 4370 w 5217"/>
                <a:gd name="T39" fmla="*/ 5187 h 5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17" h="5187">
                  <a:moveTo>
                    <a:pt x="4370" y="5187"/>
                  </a:moveTo>
                  <a:cubicBezTo>
                    <a:pt x="4130" y="1971"/>
                    <a:pt x="4130" y="1971"/>
                    <a:pt x="4130" y="1971"/>
                  </a:cubicBezTo>
                  <a:cubicBezTo>
                    <a:pt x="4107" y="1642"/>
                    <a:pt x="4092" y="1229"/>
                    <a:pt x="4092" y="1072"/>
                  </a:cubicBezTo>
                  <a:cubicBezTo>
                    <a:pt x="4055" y="1244"/>
                    <a:pt x="3987" y="1574"/>
                    <a:pt x="3890" y="1904"/>
                  </a:cubicBezTo>
                  <a:cubicBezTo>
                    <a:pt x="2945" y="5187"/>
                    <a:pt x="2945" y="5187"/>
                    <a:pt x="2945" y="5187"/>
                  </a:cubicBezTo>
                  <a:cubicBezTo>
                    <a:pt x="2211" y="5187"/>
                    <a:pt x="2211" y="5187"/>
                    <a:pt x="2211" y="5187"/>
                  </a:cubicBezTo>
                  <a:cubicBezTo>
                    <a:pt x="1349" y="2046"/>
                    <a:pt x="1349" y="2046"/>
                    <a:pt x="1349" y="2046"/>
                  </a:cubicBezTo>
                  <a:cubicBezTo>
                    <a:pt x="1252" y="1702"/>
                    <a:pt x="1154" y="1237"/>
                    <a:pt x="1124" y="1064"/>
                  </a:cubicBezTo>
                  <a:cubicBezTo>
                    <a:pt x="1124" y="1237"/>
                    <a:pt x="1094" y="1732"/>
                    <a:pt x="1072" y="2054"/>
                  </a:cubicBezTo>
                  <a:cubicBezTo>
                    <a:pt x="847" y="5187"/>
                    <a:pt x="847" y="5187"/>
                    <a:pt x="847" y="5187"/>
                  </a:cubicBezTo>
                  <a:cubicBezTo>
                    <a:pt x="0" y="5187"/>
                    <a:pt x="0" y="5187"/>
                    <a:pt x="0" y="5187"/>
                  </a:cubicBezTo>
                  <a:cubicBezTo>
                    <a:pt x="472" y="0"/>
                    <a:pt x="472" y="0"/>
                    <a:pt x="472" y="0"/>
                  </a:cubicBezTo>
                  <a:cubicBezTo>
                    <a:pt x="1619" y="0"/>
                    <a:pt x="1619" y="0"/>
                    <a:pt x="1619" y="0"/>
                  </a:cubicBezTo>
                  <a:cubicBezTo>
                    <a:pt x="2413" y="2938"/>
                    <a:pt x="2413" y="2938"/>
                    <a:pt x="2413" y="2938"/>
                  </a:cubicBezTo>
                  <a:cubicBezTo>
                    <a:pt x="2533" y="3373"/>
                    <a:pt x="2578" y="3665"/>
                    <a:pt x="2608" y="3823"/>
                  </a:cubicBezTo>
                  <a:cubicBezTo>
                    <a:pt x="2631" y="3665"/>
                    <a:pt x="2698" y="3313"/>
                    <a:pt x="2796" y="2953"/>
                  </a:cubicBezTo>
                  <a:cubicBezTo>
                    <a:pt x="3613" y="0"/>
                    <a:pt x="3613" y="0"/>
                    <a:pt x="3613" y="0"/>
                  </a:cubicBezTo>
                  <a:cubicBezTo>
                    <a:pt x="4759" y="0"/>
                    <a:pt x="4759" y="0"/>
                    <a:pt x="4759" y="0"/>
                  </a:cubicBezTo>
                  <a:cubicBezTo>
                    <a:pt x="5217" y="5187"/>
                    <a:pt x="5217" y="5187"/>
                    <a:pt x="5217" y="5187"/>
                  </a:cubicBezTo>
                  <a:lnTo>
                    <a:pt x="4370" y="5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2" name="Freeform 58">
              <a:extLst>
                <a:ext uri="{FF2B5EF4-FFF2-40B4-BE49-F238E27FC236}">
                  <a16:creationId xmlns:a16="http://schemas.microsoft.com/office/drawing/2014/main" id="{D1657B26-896F-40FE-B326-280C3E921B5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73838" y="2459038"/>
              <a:ext cx="1328738" cy="1947863"/>
            </a:xfrm>
            <a:custGeom>
              <a:avLst/>
              <a:gdLst>
                <a:gd name="T0" fmla="*/ 2518 w 3545"/>
                <a:gd name="T1" fmla="*/ 5187 h 5187"/>
                <a:gd name="T2" fmla="*/ 2068 w 3545"/>
                <a:gd name="T3" fmla="*/ 4385 h 5187"/>
                <a:gd name="T4" fmla="*/ 1184 w 3545"/>
                <a:gd name="T5" fmla="*/ 3103 h 5187"/>
                <a:gd name="T6" fmla="*/ 847 w 3545"/>
                <a:gd name="T7" fmla="*/ 2946 h 5187"/>
                <a:gd name="T8" fmla="*/ 847 w 3545"/>
                <a:gd name="T9" fmla="*/ 5187 h 5187"/>
                <a:gd name="T10" fmla="*/ 0 w 3545"/>
                <a:gd name="T11" fmla="*/ 5187 h 5187"/>
                <a:gd name="T12" fmla="*/ 0 w 3545"/>
                <a:gd name="T13" fmla="*/ 0 h 5187"/>
                <a:gd name="T14" fmla="*/ 1581 w 3545"/>
                <a:gd name="T15" fmla="*/ 0 h 5187"/>
                <a:gd name="T16" fmla="*/ 3268 w 3545"/>
                <a:gd name="T17" fmla="*/ 1484 h 5187"/>
                <a:gd name="T18" fmla="*/ 1978 w 3545"/>
                <a:gd name="T19" fmla="*/ 2909 h 5187"/>
                <a:gd name="T20" fmla="*/ 2780 w 3545"/>
                <a:gd name="T21" fmla="*/ 3943 h 5187"/>
                <a:gd name="T22" fmla="*/ 3545 w 3545"/>
                <a:gd name="T23" fmla="*/ 5187 h 5187"/>
                <a:gd name="T24" fmla="*/ 2518 w 3545"/>
                <a:gd name="T25" fmla="*/ 5187 h 5187"/>
                <a:gd name="T26" fmla="*/ 1319 w 3545"/>
                <a:gd name="T27" fmla="*/ 697 h 5187"/>
                <a:gd name="T28" fmla="*/ 847 w 3545"/>
                <a:gd name="T29" fmla="*/ 697 h 5187"/>
                <a:gd name="T30" fmla="*/ 847 w 3545"/>
                <a:gd name="T31" fmla="*/ 2339 h 5187"/>
                <a:gd name="T32" fmla="*/ 1289 w 3545"/>
                <a:gd name="T33" fmla="*/ 2339 h 5187"/>
                <a:gd name="T34" fmla="*/ 2136 w 3545"/>
                <a:gd name="T35" fmla="*/ 2121 h 5187"/>
                <a:gd name="T36" fmla="*/ 2368 w 3545"/>
                <a:gd name="T37" fmla="*/ 1492 h 5187"/>
                <a:gd name="T38" fmla="*/ 1319 w 3545"/>
                <a:gd name="T39" fmla="*/ 697 h 5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45" h="5187">
                  <a:moveTo>
                    <a:pt x="2518" y="5187"/>
                  </a:moveTo>
                  <a:cubicBezTo>
                    <a:pt x="2068" y="4385"/>
                    <a:pt x="2068" y="4385"/>
                    <a:pt x="2068" y="4385"/>
                  </a:cubicBezTo>
                  <a:cubicBezTo>
                    <a:pt x="1709" y="3748"/>
                    <a:pt x="1469" y="3388"/>
                    <a:pt x="1184" y="3103"/>
                  </a:cubicBezTo>
                  <a:cubicBezTo>
                    <a:pt x="1086" y="3006"/>
                    <a:pt x="1011" y="2954"/>
                    <a:pt x="847" y="2946"/>
                  </a:cubicBezTo>
                  <a:cubicBezTo>
                    <a:pt x="847" y="5187"/>
                    <a:pt x="847" y="5187"/>
                    <a:pt x="847" y="5187"/>
                  </a:cubicBezTo>
                  <a:cubicBezTo>
                    <a:pt x="0" y="5187"/>
                    <a:pt x="0" y="5187"/>
                    <a:pt x="0" y="518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81" y="0"/>
                    <a:pt x="1581" y="0"/>
                    <a:pt x="1581" y="0"/>
                  </a:cubicBezTo>
                  <a:cubicBezTo>
                    <a:pt x="2743" y="0"/>
                    <a:pt x="3268" y="675"/>
                    <a:pt x="3268" y="1484"/>
                  </a:cubicBezTo>
                  <a:cubicBezTo>
                    <a:pt x="3268" y="2226"/>
                    <a:pt x="2788" y="2909"/>
                    <a:pt x="1978" y="2909"/>
                  </a:cubicBezTo>
                  <a:cubicBezTo>
                    <a:pt x="2166" y="3006"/>
                    <a:pt x="2511" y="3508"/>
                    <a:pt x="2780" y="3943"/>
                  </a:cubicBezTo>
                  <a:cubicBezTo>
                    <a:pt x="3545" y="5187"/>
                    <a:pt x="3545" y="5187"/>
                    <a:pt x="3545" y="5187"/>
                  </a:cubicBezTo>
                  <a:lnTo>
                    <a:pt x="2518" y="5187"/>
                  </a:lnTo>
                  <a:close/>
                  <a:moveTo>
                    <a:pt x="1319" y="697"/>
                  </a:moveTo>
                  <a:cubicBezTo>
                    <a:pt x="847" y="697"/>
                    <a:pt x="847" y="697"/>
                    <a:pt x="847" y="697"/>
                  </a:cubicBezTo>
                  <a:cubicBezTo>
                    <a:pt x="847" y="2339"/>
                    <a:pt x="847" y="2339"/>
                    <a:pt x="847" y="2339"/>
                  </a:cubicBezTo>
                  <a:cubicBezTo>
                    <a:pt x="1289" y="2339"/>
                    <a:pt x="1289" y="2339"/>
                    <a:pt x="1289" y="2339"/>
                  </a:cubicBezTo>
                  <a:cubicBezTo>
                    <a:pt x="1739" y="2339"/>
                    <a:pt x="1978" y="2279"/>
                    <a:pt x="2136" y="2121"/>
                  </a:cubicBezTo>
                  <a:cubicBezTo>
                    <a:pt x="2278" y="1979"/>
                    <a:pt x="2368" y="1762"/>
                    <a:pt x="2368" y="1492"/>
                  </a:cubicBezTo>
                  <a:cubicBezTo>
                    <a:pt x="2368" y="967"/>
                    <a:pt x="2083" y="697"/>
                    <a:pt x="1319" y="6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3" name="Freeform 59">
              <a:extLst>
                <a:ext uri="{FF2B5EF4-FFF2-40B4-BE49-F238E27FC236}">
                  <a16:creationId xmlns:a16="http://schemas.microsoft.com/office/drawing/2014/main" id="{8AAF7866-ADA2-4809-BC38-EC1044D977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006726" y="4567238"/>
              <a:ext cx="6219825" cy="2290763"/>
            </a:xfrm>
            <a:custGeom>
              <a:avLst/>
              <a:gdLst>
                <a:gd name="T0" fmla="*/ 14134 w 16594"/>
                <a:gd name="T1" fmla="*/ 0 h 6099"/>
                <a:gd name="T2" fmla="*/ 7380 w 16594"/>
                <a:gd name="T3" fmla="*/ 3399 h 6099"/>
                <a:gd name="T4" fmla="*/ 1059 w 16594"/>
                <a:gd name="T5" fmla="*/ 1248 h 6099"/>
                <a:gd name="T6" fmla="*/ 616 w 16594"/>
                <a:gd name="T7" fmla="*/ 2105 h 6099"/>
                <a:gd name="T8" fmla="*/ 1263 w 16594"/>
                <a:gd name="T9" fmla="*/ 2776 h 6099"/>
                <a:gd name="T10" fmla="*/ 1957 w 16594"/>
                <a:gd name="T11" fmla="*/ 2753 h 6099"/>
                <a:gd name="T12" fmla="*/ 2277 w 16594"/>
                <a:gd name="T13" fmla="*/ 3084 h 6099"/>
                <a:gd name="T14" fmla="*/ 2225 w 16594"/>
                <a:gd name="T15" fmla="*/ 3926 h 6099"/>
                <a:gd name="T16" fmla="*/ 3042 w 16594"/>
                <a:gd name="T17" fmla="*/ 4406 h 6099"/>
                <a:gd name="T18" fmla="*/ 3703 w 16594"/>
                <a:gd name="T19" fmla="*/ 4203 h 6099"/>
                <a:gd name="T20" fmla="*/ 4179 w 16594"/>
                <a:gd name="T21" fmla="*/ 4611 h 6099"/>
                <a:gd name="T22" fmla="*/ 4198 w 16594"/>
                <a:gd name="T23" fmla="*/ 5084 h 6099"/>
                <a:gd name="T24" fmla="*/ 5077 w 16594"/>
                <a:gd name="T25" fmla="*/ 5573 h 6099"/>
                <a:gd name="T26" fmla="*/ 5752 w 16594"/>
                <a:gd name="T27" fmla="*/ 5136 h 6099"/>
                <a:gd name="T28" fmla="*/ 6517 w 16594"/>
                <a:gd name="T29" fmla="*/ 5862 h 6099"/>
                <a:gd name="T30" fmla="*/ 7569 w 16594"/>
                <a:gd name="T31" fmla="*/ 6001 h 6099"/>
                <a:gd name="T32" fmla="*/ 7847 w 16594"/>
                <a:gd name="T33" fmla="*/ 5606 h 6099"/>
                <a:gd name="T34" fmla="*/ 7891 w 16594"/>
                <a:gd name="T35" fmla="*/ 5558 h 6099"/>
                <a:gd name="T36" fmla="*/ 7933 w 16594"/>
                <a:gd name="T37" fmla="*/ 5526 h 6099"/>
                <a:gd name="T38" fmla="*/ 7985 w 16594"/>
                <a:gd name="T39" fmla="*/ 5504 h 6099"/>
                <a:gd name="T40" fmla="*/ 8033 w 16594"/>
                <a:gd name="T41" fmla="*/ 5494 h 6099"/>
                <a:gd name="T42" fmla="*/ 8762 w 16594"/>
                <a:gd name="T43" fmla="*/ 5653 h 6099"/>
                <a:gd name="T44" fmla="*/ 9906 w 16594"/>
                <a:gd name="T45" fmla="*/ 6005 h 6099"/>
                <a:gd name="T46" fmla="*/ 9970 w 16594"/>
                <a:gd name="T47" fmla="*/ 5981 h 6099"/>
                <a:gd name="T48" fmla="*/ 10006 w 16594"/>
                <a:gd name="T49" fmla="*/ 5953 h 6099"/>
                <a:gd name="T50" fmla="*/ 10029 w 16594"/>
                <a:gd name="T51" fmla="*/ 5924 h 6099"/>
                <a:gd name="T52" fmla="*/ 10049 w 16594"/>
                <a:gd name="T53" fmla="*/ 5887 h 6099"/>
                <a:gd name="T54" fmla="*/ 10194 w 16594"/>
                <a:gd name="T55" fmla="*/ 5461 h 6099"/>
                <a:gd name="T56" fmla="*/ 10226 w 16594"/>
                <a:gd name="T57" fmla="*/ 5378 h 6099"/>
                <a:gd name="T58" fmla="*/ 10250 w 16594"/>
                <a:gd name="T59" fmla="*/ 5336 h 6099"/>
                <a:gd name="T60" fmla="*/ 10283 w 16594"/>
                <a:gd name="T61" fmla="*/ 5298 h 6099"/>
                <a:gd name="T62" fmla="*/ 10314 w 16594"/>
                <a:gd name="T63" fmla="*/ 5274 h 6099"/>
                <a:gd name="T64" fmla="*/ 11040 w 16594"/>
                <a:gd name="T65" fmla="*/ 5238 h 6099"/>
                <a:gd name="T66" fmla="*/ 11564 w 16594"/>
                <a:gd name="T67" fmla="*/ 5562 h 6099"/>
                <a:gd name="T68" fmla="*/ 12376 w 16594"/>
                <a:gd name="T69" fmla="*/ 5037 h 6099"/>
                <a:gd name="T70" fmla="*/ 12398 w 16594"/>
                <a:gd name="T71" fmla="*/ 4576 h 6099"/>
                <a:gd name="T72" fmla="*/ 12452 w 16594"/>
                <a:gd name="T73" fmla="*/ 4469 h 6099"/>
                <a:gd name="T74" fmla="*/ 12516 w 16594"/>
                <a:gd name="T75" fmla="*/ 4409 h 6099"/>
                <a:gd name="T76" fmla="*/ 13154 w 16594"/>
                <a:gd name="T77" fmla="*/ 4229 h 6099"/>
                <a:gd name="T78" fmla="*/ 13723 w 16594"/>
                <a:gd name="T79" fmla="*/ 4418 h 6099"/>
                <a:gd name="T80" fmla="*/ 14397 w 16594"/>
                <a:gd name="T81" fmla="*/ 3886 h 6099"/>
                <a:gd name="T82" fmla="*/ 14310 w 16594"/>
                <a:gd name="T83" fmla="*/ 3078 h 6099"/>
                <a:gd name="T84" fmla="*/ 14386 w 16594"/>
                <a:gd name="T85" fmla="*/ 2992 h 6099"/>
                <a:gd name="T86" fmla="*/ 15313 w 16594"/>
                <a:gd name="T87" fmla="*/ 2776 h 6099"/>
                <a:gd name="T88" fmla="*/ 15969 w 16594"/>
                <a:gd name="T89" fmla="*/ 2091 h 60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594" h="6099">
                  <a:moveTo>
                    <a:pt x="16435" y="1061"/>
                  </a:moveTo>
                  <a:cubicBezTo>
                    <a:pt x="16401" y="1074"/>
                    <a:pt x="15751" y="1318"/>
                    <a:pt x="14862" y="1318"/>
                  </a:cubicBezTo>
                  <a:cubicBezTo>
                    <a:pt x="14498" y="932"/>
                    <a:pt x="14152" y="47"/>
                    <a:pt x="14134" y="0"/>
                  </a:cubicBezTo>
                  <a:cubicBezTo>
                    <a:pt x="13206" y="1776"/>
                    <a:pt x="11408" y="3101"/>
                    <a:pt x="9195" y="3399"/>
                  </a:cubicBezTo>
                  <a:cubicBezTo>
                    <a:pt x="8890" y="3440"/>
                    <a:pt x="8588" y="3460"/>
                    <a:pt x="8289" y="3461"/>
                  </a:cubicBezTo>
                  <a:cubicBezTo>
                    <a:pt x="7989" y="3460"/>
                    <a:pt x="7685" y="3440"/>
                    <a:pt x="7380" y="3399"/>
                  </a:cubicBezTo>
                  <a:cubicBezTo>
                    <a:pt x="5167" y="3101"/>
                    <a:pt x="3370" y="1776"/>
                    <a:pt x="2442" y="0"/>
                  </a:cubicBezTo>
                  <a:cubicBezTo>
                    <a:pt x="2424" y="48"/>
                    <a:pt x="2075" y="961"/>
                    <a:pt x="1712" y="1320"/>
                  </a:cubicBezTo>
                  <a:cubicBezTo>
                    <a:pt x="1671" y="1315"/>
                    <a:pt x="1369" y="1299"/>
                    <a:pt x="1059" y="1248"/>
                  </a:cubicBezTo>
                  <a:cubicBezTo>
                    <a:pt x="621" y="1176"/>
                    <a:pt x="165" y="1067"/>
                    <a:pt x="142" y="1061"/>
                  </a:cubicBezTo>
                  <a:cubicBezTo>
                    <a:pt x="0" y="1022"/>
                    <a:pt x="0" y="1022"/>
                    <a:pt x="0" y="1022"/>
                  </a:cubicBezTo>
                  <a:cubicBezTo>
                    <a:pt x="139" y="1292"/>
                    <a:pt x="435" y="1828"/>
                    <a:pt x="616" y="2105"/>
                  </a:cubicBezTo>
                  <a:cubicBezTo>
                    <a:pt x="635" y="2131"/>
                    <a:pt x="986" y="2624"/>
                    <a:pt x="1079" y="2740"/>
                  </a:cubicBezTo>
                  <a:cubicBezTo>
                    <a:pt x="1110" y="2767"/>
                    <a:pt x="1146" y="2782"/>
                    <a:pt x="1200" y="2782"/>
                  </a:cubicBezTo>
                  <a:cubicBezTo>
                    <a:pt x="1219" y="2782"/>
                    <a:pt x="1240" y="2780"/>
                    <a:pt x="1263" y="2776"/>
                  </a:cubicBezTo>
                  <a:cubicBezTo>
                    <a:pt x="1679" y="2704"/>
                    <a:pt x="1679" y="2704"/>
                    <a:pt x="1679" y="2704"/>
                  </a:cubicBezTo>
                  <a:cubicBezTo>
                    <a:pt x="1719" y="2695"/>
                    <a:pt x="1754" y="2691"/>
                    <a:pt x="1786" y="2691"/>
                  </a:cubicBezTo>
                  <a:cubicBezTo>
                    <a:pt x="1856" y="2691"/>
                    <a:pt x="1908" y="2711"/>
                    <a:pt x="1957" y="2753"/>
                  </a:cubicBezTo>
                  <a:cubicBezTo>
                    <a:pt x="1977" y="2769"/>
                    <a:pt x="2215" y="3015"/>
                    <a:pt x="2226" y="3026"/>
                  </a:cubicBezTo>
                  <a:cubicBezTo>
                    <a:pt x="2247" y="3048"/>
                    <a:pt x="2262" y="3070"/>
                    <a:pt x="2274" y="3093"/>
                  </a:cubicBezTo>
                  <a:cubicBezTo>
                    <a:pt x="2277" y="3084"/>
                    <a:pt x="2277" y="3084"/>
                    <a:pt x="2277" y="3084"/>
                  </a:cubicBezTo>
                  <a:cubicBezTo>
                    <a:pt x="2127" y="3677"/>
                    <a:pt x="2127" y="3677"/>
                    <a:pt x="2127" y="3677"/>
                  </a:cubicBezTo>
                  <a:cubicBezTo>
                    <a:pt x="2103" y="3778"/>
                    <a:pt x="2126" y="3832"/>
                    <a:pt x="2180" y="3887"/>
                  </a:cubicBezTo>
                  <a:cubicBezTo>
                    <a:pt x="2180" y="3887"/>
                    <a:pt x="2223" y="3924"/>
                    <a:pt x="2225" y="3926"/>
                  </a:cubicBezTo>
                  <a:cubicBezTo>
                    <a:pt x="2425" y="4099"/>
                    <a:pt x="2635" y="4263"/>
                    <a:pt x="2852" y="4418"/>
                  </a:cubicBezTo>
                  <a:cubicBezTo>
                    <a:pt x="2876" y="4430"/>
                    <a:pt x="2900" y="4436"/>
                    <a:pt x="2928" y="4436"/>
                  </a:cubicBezTo>
                  <a:cubicBezTo>
                    <a:pt x="2960" y="4436"/>
                    <a:pt x="2997" y="4427"/>
                    <a:pt x="3042" y="4406"/>
                  </a:cubicBezTo>
                  <a:cubicBezTo>
                    <a:pt x="3423" y="4229"/>
                    <a:pt x="3423" y="4229"/>
                    <a:pt x="3423" y="4229"/>
                  </a:cubicBezTo>
                  <a:cubicBezTo>
                    <a:pt x="3489" y="4195"/>
                    <a:pt x="3544" y="4178"/>
                    <a:pt x="3596" y="4178"/>
                  </a:cubicBezTo>
                  <a:cubicBezTo>
                    <a:pt x="3633" y="4178"/>
                    <a:pt x="3668" y="4187"/>
                    <a:pt x="3703" y="4203"/>
                  </a:cubicBezTo>
                  <a:cubicBezTo>
                    <a:pt x="3727" y="4214"/>
                    <a:pt x="4063" y="4409"/>
                    <a:pt x="4087" y="4430"/>
                  </a:cubicBezTo>
                  <a:cubicBezTo>
                    <a:pt x="4137" y="4472"/>
                    <a:pt x="4169" y="4525"/>
                    <a:pt x="4178" y="4604"/>
                  </a:cubicBezTo>
                  <a:cubicBezTo>
                    <a:pt x="4179" y="4611"/>
                    <a:pt x="4179" y="4611"/>
                    <a:pt x="4179" y="4611"/>
                  </a:cubicBezTo>
                  <a:cubicBezTo>
                    <a:pt x="4188" y="4849"/>
                    <a:pt x="4188" y="4849"/>
                    <a:pt x="4188" y="4849"/>
                  </a:cubicBezTo>
                  <a:cubicBezTo>
                    <a:pt x="4188" y="4855"/>
                    <a:pt x="4189" y="4862"/>
                    <a:pt x="4190" y="4868"/>
                  </a:cubicBezTo>
                  <a:cubicBezTo>
                    <a:pt x="4198" y="5084"/>
                    <a:pt x="4198" y="5084"/>
                    <a:pt x="4198" y="5084"/>
                  </a:cubicBezTo>
                  <a:cubicBezTo>
                    <a:pt x="4202" y="5178"/>
                    <a:pt x="4225" y="5221"/>
                    <a:pt x="4286" y="5257"/>
                  </a:cubicBezTo>
                  <a:cubicBezTo>
                    <a:pt x="4482" y="5350"/>
                    <a:pt x="4973" y="5547"/>
                    <a:pt x="5012" y="5562"/>
                  </a:cubicBezTo>
                  <a:cubicBezTo>
                    <a:pt x="5034" y="5568"/>
                    <a:pt x="5055" y="5573"/>
                    <a:pt x="5077" y="5573"/>
                  </a:cubicBezTo>
                  <a:cubicBezTo>
                    <a:pt x="5120" y="5573"/>
                    <a:pt x="5165" y="5555"/>
                    <a:pt x="5222" y="5509"/>
                  </a:cubicBezTo>
                  <a:cubicBezTo>
                    <a:pt x="5537" y="5238"/>
                    <a:pt x="5537" y="5238"/>
                    <a:pt x="5537" y="5238"/>
                  </a:cubicBezTo>
                  <a:cubicBezTo>
                    <a:pt x="5614" y="5167"/>
                    <a:pt x="5680" y="5136"/>
                    <a:pt x="5752" y="5136"/>
                  </a:cubicBezTo>
                  <a:cubicBezTo>
                    <a:pt x="5792" y="5136"/>
                    <a:pt x="6200" y="5243"/>
                    <a:pt x="6228" y="5256"/>
                  </a:cubicBezTo>
                  <a:cubicBezTo>
                    <a:pt x="6305" y="5290"/>
                    <a:pt x="6350" y="5349"/>
                    <a:pt x="6383" y="5461"/>
                  </a:cubicBezTo>
                  <a:cubicBezTo>
                    <a:pt x="6517" y="5862"/>
                    <a:pt x="6517" y="5862"/>
                    <a:pt x="6517" y="5862"/>
                  </a:cubicBezTo>
                  <a:cubicBezTo>
                    <a:pt x="6549" y="5954"/>
                    <a:pt x="6596" y="5987"/>
                    <a:pt x="6669" y="6005"/>
                  </a:cubicBezTo>
                  <a:cubicBezTo>
                    <a:pt x="6701" y="6010"/>
                    <a:pt x="7352" y="6099"/>
                    <a:pt x="7391" y="6099"/>
                  </a:cubicBezTo>
                  <a:cubicBezTo>
                    <a:pt x="7461" y="6099"/>
                    <a:pt x="7514" y="6078"/>
                    <a:pt x="7569" y="6001"/>
                  </a:cubicBezTo>
                  <a:cubicBezTo>
                    <a:pt x="7814" y="5653"/>
                    <a:pt x="7814" y="5653"/>
                    <a:pt x="7814" y="5653"/>
                  </a:cubicBezTo>
                  <a:cubicBezTo>
                    <a:pt x="7821" y="5642"/>
                    <a:pt x="7828" y="5633"/>
                    <a:pt x="7835" y="5623"/>
                  </a:cubicBezTo>
                  <a:cubicBezTo>
                    <a:pt x="7839" y="5617"/>
                    <a:pt x="7843" y="5612"/>
                    <a:pt x="7847" y="5606"/>
                  </a:cubicBezTo>
                  <a:cubicBezTo>
                    <a:pt x="7852" y="5600"/>
                    <a:pt x="7857" y="5594"/>
                    <a:pt x="7863" y="5588"/>
                  </a:cubicBezTo>
                  <a:cubicBezTo>
                    <a:pt x="7867" y="5583"/>
                    <a:pt x="7871" y="5578"/>
                    <a:pt x="7875" y="5574"/>
                  </a:cubicBezTo>
                  <a:cubicBezTo>
                    <a:pt x="7880" y="5568"/>
                    <a:pt x="7886" y="5563"/>
                    <a:pt x="7891" y="5558"/>
                  </a:cubicBezTo>
                  <a:cubicBezTo>
                    <a:pt x="7895" y="5555"/>
                    <a:pt x="7899" y="5551"/>
                    <a:pt x="7904" y="5547"/>
                  </a:cubicBezTo>
                  <a:cubicBezTo>
                    <a:pt x="7909" y="5543"/>
                    <a:pt x="7915" y="5539"/>
                    <a:pt x="7920" y="5535"/>
                  </a:cubicBezTo>
                  <a:cubicBezTo>
                    <a:pt x="7925" y="5532"/>
                    <a:pt x="7929" y="5529"/>
                    <a:pt x="7933" y="5526"/>
                  </a:cubicBezTo>
                  <a:cubicBezTo>
                    <a:pt x="7939" y="5523"/>
                    <a:pt x="7945" y="5520"/>
                    <a:pt x="7952" y="5517"/>
                  </a:cubicBezTo>
                  <a:cubicBezTo>
                    <a:pt x="7956" y="5515"/>
                    <a:pt x="7960" y="5513"/>
                    <a:pt x="7964" y="5511"/>
                  </a:cubicBezTo>
                  <a:cubicBezTo>
                    <a:pt x="7971" y="5508"/>
                    <a:pt x="7978" y="5506"/>
                    <a:pt x="7985" y="5504"/>
                  </a:cubicBezTo>
                  <a:cubicBezTo>
                    <a:pt x="7989" y="5503"/>
                    <a:pt x="7993" y="5501"/>
                    <a:pt x="7998" y="5500"/>
                  </a:cubicBezTo>
                  <a:cubicBezTo>
                    <a:pt x="8005" y="5498"/>
                    <a:pt x="8014" y="5497"/>
                    <a:pt x="8022" y="5496"/>
                  </a:cubicBezTo>
                  <a:cubicBezTo>
                    <a:pt x="8026" y="5495"/>
                    <a:pt x="8029" y="5494"/>
                    <a:pt x="8033" y="5494"/>
                  </a:cubicBezTo>
                  <a:cubicBezTo>
                    <a:pt x="8046" y="5493"/>
                    <a:pt x="8059" y="5492"/>
                    <a:pt x="8072" y="5492"/>
                  </a:cubicBezTo>
                  <a:cubicBezTo>
                    <a:pt x="8089" y="5492"/>
                    <a:pt x="8487" y="5492"/>
                    <a:pt x="8504" y="5492"/>
                  </a:cubicBezTo>
                  <a:cubicBezTo>
                    <a:pt x="8614" y="5492"/>
                    <a:pt x="8686" y="5534"/>
                    <a:pt x="8762" y="5653"/>
                  </a:cubicBezTo>
                  <a:cubicBezTo>
                    <a:pt x="9007" y="6001"/>
                    <a:pt x="9007" y="6001"/>
                    <a:pt x="9007" y="6001"/>
                  </a:cubicBezTo>
                  <a:cubicBezTo>
                    <a:pt x="9062" y="6078"/>
                    <a:pt x="9115" y="6099"/>
                    <a:pt x="9185" y="6099"/>
                  </a:cubicBezTo>
                  <a:cubicBezTo>
                    <a:pt x="9223" y="6099"/>
                    <a:pt x="9873" y="6011"/>
                    <a:pt x="9906" y="6005"/>
                  </a:cubicBezTo>
                  <a:cubicBezTo>
                    <a:pt x="9918" y="6002"/>
                    <a:pt x="9928" y="5999"/>
                    <a:pt x="9938" y="5995"/>
                  </a:cubicBezTo>
                  <a:cubicBezTo>
                    <a:pt x="9941" y="5994"/>
                    <a:pt x="9944" y="5993"/>
                    <a:pt x="9947" y="5992"/>
                  </a:cubicBezTo>
                  <a:cubicBezTo>
                    <a:pt x="9955" y="5988"/>
                    <a:pt x="9963" y="5985"/>
                    <a:pt x="9970" y="5981"/>
                  </a:cubicBezTo>
                  <a:cubicBezTo>
                    <a:pt x="9972" y="5979"/>
                    <a:pt x="9974" y="5979"/>
                    <a:pt x="9976" y="5977"/>
                  </a:cubicBezTo>
                  <a:cubicBezTo>
                    <a:pt x="9985" y="5972"/>
                    <a:pt x="9993" y="5966"/>
                    <a:pt x="10001" y="5959"/>
                  </a:cubicBezTo>
                  <a:cubicBezTo>
                    <a:pt x="10002" y="5957"/>
                    <a:pt x="10004" y="5955"/>
                    <a:pt x="10006" y="5953"/>
                  </a:cubicBezTo>
                  <a:cubicBezTo>
                    <a:pt x="10012" y="5947"/>
                    <a:pt x="10018" y="5940"/>
                    <a:pt x="10023" y="5933"/>
                  </a:cubicBezTo>
                  <a:cubicBezTo>
                    <a:pt x="10024" y="5931"/>
                    <a:pt x="10025" y="5930"/>
                    <a:pt x="10026" y="5929"/>
                  </a:cubicBezTo>
                  <a:cubicBezTo>
                    <a:pt x="10027" y="5928"/>
                    <a:pt x="10028" y="5926"/>
                    <a:pt x="10029" y="5924"/>
                  </a:cubicBezTo>
                  <a:cubicBezTo>
                    <a:pt x="10031" y="5921"/>
                    <a:pt x="10033" y="5918"/>
                    <a:pt x="10035" y="5914"/>
                  </a:cubicBezTo>
                  <a:cubicBezTo>
                    <a:pt x="10038" y="5909"/>
                    <a:pt x="10041" y="5904"/>
                    <a:pt x="10043" y="5899"/>
                  </a:cubicBezTo>
                  <a:cubicBezTo>
                    <a:pt x="10045" y="5895"/>
                    <a:pt x="10047" y="5891"/>
                    <a:pt x="10049" y="5887"/>
                  </a:cubicBezTo>
                  <a:cubicBezTo>
                    <a:pt x="10050" y="5885"/>
                    <a:pt x="10051" y="5883"/>
                    <a:pt x="10052" y="5880"/>
                  </a:cubicBezTo>
                  <a:cubicBezTo>
                    <a:pt x="10054" y="5874"/>
                    <a:pt x="10056" y="5868"/>
                    <a:pt x="10059" y="5862"/>
                  </a:cubicBezTo>
                  <a:cubicBezTo>
                    <a:pt x="10194" y="5461"/>
                    <a:pt x="10194" y="5461"/>
                    <a:pt x="10194" y="5461"/>
                  </a:cubicBezTo>
                  <a:cubicBezTo>
                    <a:pt x="10199" y="5443"/>
                    <a:pt x="10205" y="5427"/>
                    <a:pt x="10211" y="5411"/>
                  </a:cubicBezTo>
                  <a:cubicBezTo>
                    <a:pt x="10213" y="5407"/>
                    <a:pt x="10214" y="5402"/>
                    <a:pt x="10216" y="5398"/>
                  </a:cubicBezTo>
                  <a:cubicBezTo>
                    <a:pt x="10219" y="5391"/>
                    <a:pt x="10222" y="5384"/>
                    <a:pt x="10226" y="5378"/>
                  </a:cubicBezTo>
                  <a:cubicBezTo>
                    <a:pt x="10228" y="5373"/>
                    <a:pt x="10230" y="5369"/>
                    <a:pt x="10232" y="5365"/>
                  </a:cubicBezTo>
                  <a:cubicBezTo>
                    <a:pt x="10236" y="5358"/>
                    <a:pt x="10240" y="5352"/>
                    <a:pt x="10243" y="5346"/>
                  </a:cubicBezTo>
                  <a:cubicBezTo>
                    <a:pt x="10245" y="5342"/>
                    <a:pt x="10248" y="5339"/>
                    <a:pt x="10250" y="5336"/>
                  </a:cubicBezTo>
                  <a:cubicBezTo>
                    <a:pt x="10253" y="5330"/>
                    <a:pt x="10257" y="5326"/>
                    <a:pt x="10261" y="5321"/>
                  </a:cubicBezTo>
                  <a:cubicBezTo>
                    <a:pt x="10264" y="5318"/>
                    <a:pt x="10266" y="5315"/>
                    <a:pt x="10269" y="5312"/>
                  </a:cubicBezTo>
                  <a:cubicBezTo>
                    <a:pt x="10273" y="5307"/>
                    <a:pt x="10278" y="5303"/>
                    <a:pt x="10283" y="5298"/>
                  </a:cubicBezTo>
                  <a:cubicBezTo>
                    <a:pt x="10285" y="5296"/>
                    <a:pt x="10288" y="5293"/>
                    <a:pt x="10290" y="5291"/>
                  </a:cubicBezTo>
                  <a:cubicBezTo>
                    <a:pt x="10296" y="5287"/>
                    <a:pt x="10301" y="5283"/>
                    <a:pt x="10307" y="5279"/>
                  </a:cubicBezTo>
                  <a:cubicBezTo>
                    <a:pt x="10309" y="5277"/>
                    <a:pt x="10312" y="5275"/>
                    <a:pt x="10314" y="5274"/>
                  </a:cubicBezTo>
                  <a:cubicBezTo>
                    <a:pt x="10323" y="5268"/>
                    <a:pt x="10331" y="5263"/>
                    <a:pt x="10341" y="5259"/>
                  </a:cubicBezTo>
                  <a:cubicBezTo>
                    <a:pt x="10371" y="5245"/>
                    <a:pt x="10784" y="5136"/>
                    <a:pt x="10824" y="5136"/>
                  </a:cubicBezTo>
                  <a:cubicBezTo>
                    <a:pt x="10897" y="5136"/>
                    <a:pt x="10962" y="5167"/>
                    <a:pt x="11040" y="5238"/>
                  </a:cubicBezTo>
                  <a:cubicBezTo>
                    <a:pt x="11355" y="5509"/>
                    <a:pt x="11355" y="5509"/>
                    <a:pt x="11355" y="5509"/>
                  </a:cubicBezTo>
                  <a:cubicBezTo>
                    <a:pt x="11411" y="5555"/>
                    <a:pt x="11455" y="5573"/>
                    <a:pt x="11499" y="5573"/>
                  </a:cubicBezTo>
                  <a:cubicBezTo>
                    <a:pt x="11521" y="5573"/>
                    <a:pt x="11542" y="5568"/>
                    <a:pt x="11564" y="5562"/>
                  </a:cubicBezTo>
                  <a:cubicBezTo>
                    <a:pt x="11604" y="5547"/>
                    <a:pt x="11642" y="5531"/>
                    <a:pt x="11682" y="5517"/>
                  </a:cubicBezTo>
                  <a:cubicBezTo>
                    <a:pt x="11893" y="5435"/>
                    <a:pt x="12094" y="5350"/>
                    <a:pt x="12291" y="5257"/>
                  </a:cubicBezTo>
                  <a:cubicBezTo>
                    <a:pt x="12379" y="5218"/>
                    <a:pt x="12370" y="5128"/>
                    <a:pt x="12376" y="5037"/>
                  </a:cubicBezTo>
                  <a:cubicBezTo>
                    <a:pt x="12380" y="4971"/>
                    <a:pt x="12383" y="4909"/>
                    <a:pt x="12385" y="4889"/>
                  </a:cubicBezTo>
                  <a:cubicBezTo>
                    <a:pt x="12386" y="4876"/>
                    <a:pt x="12387" y="4863"/>
                    <a:pt x="12388" y="4849"/>
                  </a:cubicBezTo>
                  <a:cubicBezTo>
                    <a:pt x="12398" y="4576"/>
                    <a:pt x="12398" y="4576"/>
                    <a:pt x="12398" y="4576"/>
                  </a:cubicBezTo>
                  <a:cubicBezTo>
                    <a:pt x="12400" y="4562"/>
                    <a:pt x="12400" y="4562"/>
                    <a:pt x="12400" y="4562"/>
                  </a:cubicBezTo>
                  <a:cubicBezTo>
                    <a:pt x="12406" y="4544"/>
                    <a:pt x="12440" y="4487"/>
                    <a:pt x="12447" y="4476"/>
                  </a:cubicBezTo>
                  <a:cubicBezTo>
                    <a:pt x="12449" y="4474"/>
                    <a:pt x="12450" y="4472"/>
                    <a:pt x="12452" y="4469"/>
                  </a:cubicBezTo>
                  <a:cubicBezTo>
                    <a:pt x="12459" y="4461"/>
                    <a:pt x="12466" y="4452"/>
                    <a:pt x="12474" y="4444"/>
                  </a:cubicBezTo>
                  <a:cubicBezTo>
                    <a:pt x="12477" y="4441"/>
                    <a:pt x="12479" y="4439"/>
                    <a:pt x="12482" y="4436"/>
                  </a:cubicBezTo>
                  <a:cubicBezTo>
                    <a:pt x="12493" y="4426"/>
                    <a:pt x="12504" y="4417"/>
                    <a:pt x="12516" y="4409"/>
                  </a:cubicBezTo>
                  <a:cubicBezTo>
                    <a:pt x="12535" y="4397"/>
                    <a:pt x="12854" y="4211"/>
                    <a:pt x="12881" y="4199"/>
                  </a:cubicBezTo>
                  <a:cubicBezTo>
                    <a:pt x="12914" y="4186"/>
                    <a:pt x="12946" y="4178"/>
                    <a:pt x="12980" y="4178"/>
                  </a:cubicBezTo>
                  <a:cubicBezTo>
                    <a:pt x="13032" y="4178"/>
                    <a:pt x="13087" y="4195"/>
                    <a:pt x="13154" y="4229"/>
                  </a:cubicBezTo>
                  <a:cubicBezTo>
                    <a:pt x="13534" y="4406"/>
                    <a:pt x="13534" y="4406"/>
                    <a:pt x="13534" y="4406"/>
                  </a:cubicBezTo>
                  <a:cubicBezTo>
                    <a:pt x="13579" y="4427"/>
                    <a:pt x="13616" y="4436"/>
                    <a:pt x="13648" y="4436"/>
                  </a:cubicBezTo>
                  <a:cubicBezTo>
                    <a:pt x="13676" y="4436"/>
                    <a:pt x="13700" y="4430"/>
                    <a:pt x="13723" y="4418"/>
                  </a:cubicBezTo>
                  <a:cubicBezTo>
                    <a:pt x="13940" y="4264"/>
                    <a:pt x="14147" y="4101"/>
                    <a:pt x="14346" y="3930"/>
                  </a:cubicBezTo>
                  <a:cubicBezTo>
                    <a:pt x="14346" y="3930"/>
                    <a:pt x="14346" y="3930"/>
                    <a:pt x="14346" y="3930"/>
                  </a:cubicBezTo>
                  <a:cubicBezTo>
                    <a:pt x="14346" y="3930"/>
                    <a:pt x="14384" y="3897"/>
                    <a:pt x="14397" y="3886"/>
                  </a:cubicBezTo>
                  <a:cubicBezTo>
                    <a:pt x="14450" y="3830"/>
                    <a:pt x="14473" y="3776"/>
                    <a:pt x="14449" y="3675"/>
                  </a:cubicBezTo>
                  <a:cubicBezTo>
                    <a:pt x="14302" y="3094"/>
                    <a:pt x="14302" y="3094"/>
                    <a:pt x="14302" y="3094"/>
                  </a:cubicBezTo>
                  <a:cubicBezTo>
                    <a:pt x="14304" y="3089"/>
                    <a:pt x="14307" y="3083"/>
                    <a:pt x="14310" y="3078"/>
                  </a:cubicBezTo>
                  <a:cubicBezTo>
                    <a:pt x="14317" y="3068"/>
                    <a:pt x="14324" y="3058"/>
                    <a:pt x="14331" y="3049"/>
                  </a:cubicBezTo>
                  <a:cubicBezTo>
                    <a:pt x="14335" y="3044"/>
                    <a:pt x="14338" y="3039"/>
                    <a:pt x="14343" y="3035"/>
                  </a:cubicBezTo>
                  <a:cubicBezTo>
                    <a:pt x="14355" y="3021"/>
                    <a:pt x="14370" y="3007"/>
                    <a:pt x="14386" y="2992"/>
                  </a:cubicBezTo>
                  <a:cubicBezTo>
                    <a:pt x="14561" y="2812"/>
                    <a:pt x="14561" y="2812"/>
                    <a:pt x="14561" y="2812"/>
                  </a:cubicBezTo>
                  <a:cubicBezTo>
                    <a:pt x="14628" y="2732"/>
                    <a:pt x="14692" y="2691"/>
                    <a:pt x="14790" y="2691"/>
                  </a:cubicBezTo>
                  <a:cubicBezTo>
                    <a:pt x="14821" y="2691"/>
                    <a:pt x="15289" y="2772"/>
                    <a:pt x="15313" y="2776"/>
                  </a:cubicBezTo>
                  <a:cubicBezTo>
                    <a:pt x="15336" y="2780"/>
                    <a:pt x="15357" y="2782"/>
                    <a:pt x="15376" y="2782"/>
                  </a:cubicBezTo>
                  <a:cubicBezTo>
                    <a:pt x="15430" y="2782"/>
                    <a:pt x="15466" y="2767"/>
                    <a:pt x="15497" y="2740"/>
                  </a:cubicBezTo>
                  <a:cubicBezTo>
                    <a:pt x="15589" y="2624"/>
                    <a:pt x="15950" y="2117"/>
                    <a:pt x="15969" y="2091"/>
                  </a:cubicBezTo>
                  <a:cubicBezTo>
                    <a:pt x="16138" y="1835"/>
                    <a:pt x="16453" y="1268"/>
                    <a:pt x="16594" y="995"/>
                  </a:cubicBezTo>
                  <a:lnTo>
                    <a:pt x="16435" y="10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A5C808BA-5BFE-4937-A9BC-C8AD909F06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9147" y="3681940"/>
            <a:ext cx="9455067" cy="1354217"/>
          </a:xfrm>
        </p:spPr>
        <p:txBody>
          <a:bodyPr anchor="b"/>
          <a:lstStyle>
            <a:lvl1pPr algn="l"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9BEC806-AF6D-4B8C-9C5C-31A780182D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19148" y="5128230"/>
            <a:ext cx="9455066" cy="391941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rgbClr val="DADAD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E505ACA7-DB57-4D93-862B-D8888CFE10EF}"/>
              </a:ext>
            </a:extLst>
          </p:cNvPr>
          <p:cNvGrpSpPr/>
          <p:nvPr userDrawn="1"/>
        </p:nvGrpSpPr>
        <p:grpSpPr>
          <a:xfrm>
            <a:off x="11408675" y="6072554"/>
            <a:ext cx="527308" cy="525522"/>
            <a:chOff x="1485900" y="944563"/>
            <a:chExt cx="1406526" cy="1401763"/>
          </a:xfrm>
          <a:solidFill>
            <a:schemeClr val="bg1"/>
          </a:solidFill>
        </p:grpSpPr>
        <p:sp>
          <p:nvSpPr>
            <p:cNvPr id="59" name="Freeform 5">
              <a:extLst>
                <a:ext uri="{FF2B5EF4-FFF2-40B4-BE49-F238E27FC236}">
                  <a16:creationId xmlns:a16="http://schemas.microsoft.com/office/drawing/2014/main" id="{0C4B07EF-8695-4843-B367-989497D117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6088" y="1019175"/>
              <a:ext cx="946150" cy="247650"/>
            </a:xfrm>
            <a:custGeom>
              <a:avLst/>
              <a:gdLst>
                <a:gd name="T0" fmla="*/ 76 w 153"/>
                <a:gd name="T1" fmla="*/ 0 h 40"/>
                <a:gd name="T2" fmla="*/ 0 w 153"/>
                <a:gd name="T3" fmla="*/ 35 h 40"/>
                <a:gd name="T4" fmla="*/ 0 w 153"/>
                <a:gd name="T5" fmla="*/ 39 h 40"/>
                <a:gd name="T6" fmla="*/ 4 w 153"/>
                <a:gd name="T7" fmla="*/ 39 h 40"/>
                <a:gd name="T8" fmla="*/ 76 w 153"/>
                <a:gd name="T9" fmla="*/ 6 h 40"/>
                <a:gd name="T10" fmla="*/ 149 w 153"/>
                <a:gd name="T11" fmla="*/ 40 h 40"/>
                <a:gd name="T12" fmla="*/ 153 w 153"/>
                <a:gd name="T13" fmla="*/ 40 h 40"/>
                <a:gd name="T14" fmla="*/ 153 w 153"/>
                <a:gd name="T15" fmla="*/ 36 h 40"/>
                <a:gd name="T16" fmla="*/ 76 w 153"/>
                <a:gd name="T1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40">
                  <a:moveTo>
                    <a:pt x="76" y="0"/>
                  </a:moveTo>
                  <a:cubicBezTo>
                    <a:pt x="45" y="0"/>
                    <a:pt x="18" y="12"/>
                    <a:pt x="0" y="35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21" y="18"/>
                    <a:pt x="46" y="6"/>
                    <a:pt x="76" y="6"/>
                  </a:cubicBezTo>
                  <a:cubicBezTo>
                    <a:pt x="106" y="6"/>
                    <a:pt x="131" y="18"/>
                    <a:pt x="149" y="40"/>
                  </a:cubicBezTo>
                  <a:cubicBezTo>
                    <a:pt x="153" y="40"/>
                    <a:pt x="153" y="40"/>
                    <a:pt x="153" y="40"/>
                  </a:cubicBezTo>
                  <a:cubicBezTo>
                    <a:pt x="153" y="36"/>
                    <a:pt x="153" y="36"/>
                    <a:pt x="153" y="36"/>
                  </a:cubicBezTo>
                  <a:cubicBezTo>
                    <a:pt x="135" y="13"/>
                    <a:pt x="108" y="0"/>
                    <a:pt x="7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6">
              <a:extLst>
                <a:ext uri="{FF2B5EF4-FFF2-40B4-BE49-F238E27FC236}">
                  <a16:creationId xmlns:a16="http://schemas.microsoft.com/office/drawing/2014/main" id="{8A1223EC-47F8-4A04-9429-304A4F97F5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9113" y="1100138"/>
              <a:ext cx="800100" cy="173038"/>
            </a:xfrm>
            <a:custGeom>
              <a:avLst/>
              <a:gdLst>
                <a:gd name="T0" fmla="*/ 127 w 129"/>
                <a:gd name="T1" fmla="*/ 26 h 28"/>
                <a:gd name="T2" fmla="*/ 64 w 129"/>
                <a:gd name="T3" fmla="*/ 0 h 28"/>
                <a:gd name="T4" fmla="*/ 1 w 129"/>
                <a:gd name="T5" fmla="*/ 26 h 28"/>
                <a:gd name="T6" fmla="*/ 1 w 129"/>
                <a:gd name="T7" fmla="*/ 26 h 28"/>
                <a:gd name="T8" fmla="*/ 0 w 129"/>
                <a:gd name="T9" fmla="*/ 28 h 28"/>
                <a:gd name="T10" fmla="*/ 8 w 129"/>
                <a:gd name="T11" fmla="*/ 28 h 28"/>
                <a:gd name="T12" fmla="*/ 64 w 129"/>
                <a:gd name="T13" fmla="*/ 6 h 28"/>
                <a:gd name="T14" fmla="*/ 121 w 129"/>
                <a:gd name="T15" fmla="*/ 28 h 28"/>
                <a:gd name="T16" fmla="*/ 129 w 129"/>
                <a:gd name="T17" fmla="*/ 28 h 28"/>
                <a:gd name="T18" fmla="*/ 127 w 129"/>
                <a:gd name="T19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9" h="28">
                  <a:moveTo>
                    <a:pt x="127" y="26"/>
                  </a:moveTo>
                  <a:cubicBezTo>
                    <a:pt x="111" y="10"/>
                    <a:pt x="89" y="0"/>
                    <a:pt x="64" y="0"/>
                  </a:cubicBezTo>
                  <a:cubicBezTo>
                    <a:pt x="40" y="0"/>
                    <a:pt x="17" y="10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7"/>
                    <a:pt x="0" y="27"/>
                    <a:pt x="0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23" y="14"/>
                    <a:pt x="43" y="6"/>
                    <a:pt x="64" y="6"/>
                  </a:cubicBezTo>
                  <a:cubicBezTo>
                    <a:pt x="86" y="6"/>
                    <a:pt x="106" y="14"/>
                    <a:pt x="121" y="28"/>
                  </a:cubicBezTo>
                  <a:cubicBezTo>
                    <a:pt x="129" y="28"/>
                    <a:pt x="129" y="28"/>
                    <a:pt x="129" y="28"/>
                  </a:cubicBezTo>
                  <a:cubicBezTo>
                    <a:pt x="128" y="27"/>
                    <a:pt x="128" y="27"/>
                    <a:pt x="12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Freeform 7">
              <a:extLst>
                <a:ext uri="{FF2B5EF4-FFF2-40B4-BE49-F238E27FC236}">
                  <a16:creationId xmlns:a16="http://schemas.microsoft.com/office/drawing/2014/main" id="{22FF1D40-E50F-4113-B6FA-437FA1F01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0688" y="944563"/>
              <a:ext cx="984250" cy="247650"/>
            </a:xfrm>
            <a:custGeom>
              <a:avLst/>
              <a:gdLst>
                <a:gd name="T0" fmla="*/ 159 w 159"/>
                <a:gd name="T1" fmla="*/ 32 h 40"/>
                <a:gd name="T2" fmla="*/ 79 w 159"/>
                <a:gd name="T3" fmla="*/ 0 h 40"/>
                <a:gd name="T4" fmla="*/ 0 w 159"/>
                <a:gd name="T5" fmla="*/ 32 h 40"/>
                <a:gd name="T6" fmla="*/ 1 w 159"/>
                <a:gd name="T7" fmla="*/ 39 h 40"/>
                <a:gd name="T8" fmla="*/ 79 w 159"/>
                <a:gd name="T9" fmla="*/ 5 h 40"/>
                <a:gd name="T10" fmla="*/ 159 w 159"/>
                <a:gd name="T11" fmla="*/ 40 h 40"/>
                <a:gd name="T12" fmla="*/ 159 w 159"/>
                <a:gd name="T13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40">
                  <a:moveTo>
                    <a:pt x="159" y="32"/>
                  </a:moveTo>
                  <a:cubicBezTo>
                    <a:pt x="139" y="12"/>
                    <a:pt x="111" y="0"/>
                    <a:pt x="79" y="0"/>
                  </a:cubicBezTo>
                  <a:cubicBezTo>
                    <a:pt x="48" y="0"/>
                    <a:pt x="20" y="12"/>
                    <a:pt x="0" y="32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20" y="18"/>
                    <a:pt x="48" y="5"/>
                    <a:pt x="79" y="5"/>
                  </a:cubicBezTo>
                  <a:cubicBezTo>
                    <a:pt x="111" y="5"/>
                    <a:pt x="139" y="18"/>
                    <a:pt x="159" y="40"/>
                  </a:cubicBezTo>
                  <a:lnTo>
                    <a:pt x="159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Freeform 8">
              <a:extLst>
                <a:ext uri="{FF2B5EF4-FFF2-40B4-BE49-F238E27FC236}">
                  <a16:creationId xmlns:a16="http://schemas.microsoft.com/office/drawing/2014/main" id="{7DAAAFA1-0663-40E1-B656-81998E5A5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263" y="1185863"/>
              <a:ext cx="85725" cy="198438"/>
            </a:xfrm>
            <a:custGeom>
              <a:avLst/>
              <a:gdLst>
                <a:gd name="T0" fmla="*/ 0 w 14"/>
                <a:gd name="T1" fmla="*/ 17 h 32"/>
                <a:gd name="T2" fmla="*/ 6 w 14"/>
                <a:gd name="T3" fmla="*/ 32 h 32"/>
                <a:gd name="T4" fmla="*/ 13 w 14"/>
                <a:gd name="T5" fmla="*/ 19 h 32"/>
                <a:gd name="T6" fmla="*/ 12 w 14"/>
                <a:gd name="T7" fmla="*/ 7 h 32"/>
                <a:gd name="T8" fmla="*/ 12 w 14"/>
                <a:gd name="T9" fmla="*/ 7 h 32"/>
                <a:gd name="T10" fmla="*/ 12 w 14"/>
                <a:gd name="T11" fmla="*/ 7 h 32"/>
                <a:gd name="T12" fmla="*/ 12 w 14"/>
                <a:gd name="T13" fmla="*/ 5 h 32"/>
                <a:gd name="T14" fmla="*/ 10 w 14"/>
                <a:gd name="T15" fmla="*/ 0 h 32"/>
                <a:gd name="T16" fmla="*/ 0 w 14"/>
                <a:gd name="T17" fmla="*/ 14 h 32"/>
                <a:gd name="T18" fmla="*/ 0 w 14"/>
                <a:gd name="T19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32">
                  <a:moveTo>
                    <a:pt x="0" y="17"/>
                  </a:moveTo>
                  <a:cubicBezTo>
                    <a:pt x="0" y="23"/>
                    <a:pt x="6" y="32"/>
                    <a:pt x="6" y="32"/>
                  </a:cubicBezTo>
                  <a:cubicBezTo>
                    <a:pt x="8" y="27"/>
                    <a:pt x="9" y="24"/>
                    <a:pt x="13" y="19"/>
                  </a:cubicBezTo>
                  <a:cubicBezTo>
                    <a:pt x="14" y="16"/>
                    <a:pt x="13" y="11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6"/>
                    <a:pt x="12" y="5"/>
                  </a:cubicBezTo>
                  <a:cubicBezTo>
                    <a:pt x="11" y="2"/>
                    <a:pt x="10" y="0"/>
                    <a:pt x="10" y="0"/>
                  </a:cubicBezTo>
                  <a:cubicBezTo>
                    <a:pt x="6" y="4"/>
                    <a:pt x="3" y="8"/>
                    <a:pt x="0" y="14"/>
                  </a:cubicBezTo>
                  <a:cubicBezTo>
                    <a:pt x="0" y="15"/>
                    <a:pt x="0" y="16"/>
                    <a:pt x="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3" name="Freeform 9">
              <a:extLst>
                <a:ext uri="{FF2B5EF4-FFF2-40B4-BE49-F238E27FC236}">
                  <a16:creationId xmlns:a16="http://schemas.microsoft.com/office/drawing/2014/main" id="{B23B15CC-14BF-4F3B-872D-6CBBA6B3F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900" y="1471613"/>
              <a:ext cx="87313" cy="192088"/>
            </a:xfrm>
            <a:custGeom>
              <a:avLst/>
              <a:gdLst>
                <a:gd name="T0" fmla="*/ 0 w 14"/>
                <a:gd name="T1" fmla="*/ 18 h 31"/>
                <a:gd name="T2" fmla="*/ 0 w 14"/>
                <a:gd name="T3" fmla="*/ 19 h 31"/>
                <a:gd name="T4" fmla="*/ 13 w 14"/>
                <a:gd name="T5" fmla="*/ 31 h 31"/>
                <a:gd name="T6" fmla="*/ 13 w 14"/>
                <a:gd name="T7" fmla="*/ 29 h 31"/>
                <a:gd name="T8" fmla="*/ 13 w 14"/>
                <a:gd name="T9" fmla="*/ 28 h 31"/>
                <a:gd name="T10" fmla="*/ 13 w 14"/>
                <a:gd name="T11" fmla="*/ 27 h 31"/>
                <a:gd name="T12" fmla="*/ 14 w 14"/>
                <a:gd name="T13" fmla="*/ 16 h 31"/>
                <a:gd name="T14" fmla="*/ 3 w 14"/>
                <a:gd name="T15" fmla="*/ 0 h 31"/>
                <a:gd name="T16" fmla="*/ 0 w 14"/>
                <a:gd name="T17" fmla="*/ 17 h 31"/>
                <a:gd name="T18" fmla="*/ 0 w 14"/>
                <a:gd name="T19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31">
                  <a:moveTo>
                    <a:pt x="0" y="18"/>
                  </a:moveTo>
                  <a:cubicBezTo>
                    <a:pt x="0" y="18"/>
                    <a:pt x="0" y="19"/>
                    <a:pt x="0" y="19"/>
                  </a:cubicBezTo>
                  <a:cubicBezTo>
                    <a:pt x="0" y="24"/>
                    <a:pt x="13" y="31"/>
                    <a:pt x="13" y="31"/>
                  </a:cubicBezTo>
                  <a:cubicBezTo>
                    <a:pt x="13" y="30"/>
                    <a:pt x="13" y="29"/>
                    <a:pt x="13" y="29"/>
                  </a:cubicBezTo>
                  <a:cubicBezTo>
                    <a:pt x="13" y="29"/>
                    <a:pt x="13" y="28"/>
                    <a:pt x="13" y="28"/>
                  </a:cubicBezTo>
                  <a:cubicBezTo>
                    <a:pt x="13" y="28"/>
                    <a:pt x="13" y="27"/>
                    <a:pt x="13" y="27"/>
                  </a:cubicBezTo>
                  <a:cubicBezTo>
                    <a:pt x="13" y="23"/>
                    <a:pt x="14" y="21"/>
                    <a:pt x="14" y="16"/>
                  </a:cubicBezTo>
                  <a:cubicBezTo>
                    <a:pt x="12" y="10"/>
                    <a:pt x="3" y="0"/>
                    <a:pt x="3" y="0"/>
                  </a:cubicBezTo>
                  <a:cubicBezTo>
                    <a:pt x="2" y="6"/>
                    <a:pt x="0" y="10"/>
                    <a:pt x="0" y="17"/>
                  </a:cubicBezTo>
                  <a:cubicBezTo>
                    <a:pt x="0" y="18"/>
                    <a:pt x="0" y="18"/>
                    <a:pt x="0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4" name="Freeform 10">
              <a:extLst>
                <a:ext uri="{FF2B5EF4-FFF2-40B4-BE49-F238E27FC236}">
                  <a16:creationId xmlns:a16="http://schemas.microsoft.com/office/drawing/2014/main" id="{57D79C8C-7372-4D33-AE97-DE558E655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4950" y="1819275"/>
              <a:ext cx="136525" cy="130175"/>
            </a:xfrm>
            <a:custGeom>
              <a:avLst/>
              <a:gdLst>
                <a:gd name="T0" fmla="*/ 16 w 22"/>
                <a:gd name="T1" fmla="*/ 8 h 21"/>
                <a:gd name="T2" fmla="*/ 0 w 22"/>
                <a:gd name="T3" fmla="*/ 0 h 21"/>
                <a:gd name="T4" fmla="*/ 1 w 22"/>
                <a:gd name="T5" fmla="*/ 1 h 21"/>
                <a:gd name="T6" fmla="*/ 1 w 22"/>
                <a:gd name="T7" fmla="*/ 1 h 21"/>
                <a:gd name="T8" fmla="*/ 5 w 22"/>
                <a:gd name="T9" fmla="*/ 16 h 21"/>
                <a:gd name="T10" fmla="*/ 22 w 22"/>
                <a:gd name="T11" fmla="*/ 21 h 21"/>
                <a:gd name="T12" fmla="*/ 21 w 22"/>
                <a:gd name="T13" fmla="*/ 18 h 21"/>
                <a:gd name="T14" fmla="*/ 16 w 22"/>
                <a:gd name="T15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6" y="8"/>
                  </a:moveTo>
                  <a:cubicBezTo>
                    <a:pt x="14" y="3"/>
                    <a:pt x="0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7"/>
                    <a:pt x="2" y="10"/>
                    <a:pt x="5" y="16"/>
                  </a:cubicBezTo>
                  <a:cubicBezTo>
                    <a:pt x="7" y="20"/>
                    <a:pt x="22" y="21"/>
                    <a:pt x="22" y="21"/>
                  </a:cubicBezTo>
                  <a:cubicBezTo>
                    <a:pt x="22" y="20"/>
                    <a:pt x="21" y="19"/>
                    <a:pt x="21" y="18"/>
                  </a:cubicBezTo>
                  <a:cubicBezTo>
                    <a:pt x="19" y="15"/>
                    <a:pt x="18" y="12"/>
                    <a:pt x="1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id="{364A95D0-D6F4-440C-9A79-2C320073C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5125" y="1770063"/>
              <a:ext cx="80963" cy="166688"/>
            </a:xfrm>
            <a:custGeom>
              <a:avLst/>
              <a:gdLst>
                <a:gd name="T0" fmla="*/ 0 w 13"/>
                <a:gd name="T1" fmla="*/ 13 h 27"/>
                <a:gd name="T2" fmla="*/ 0 w 13"/>
                <a:gd name="T3" fmla="*/ 13 h 27"/>
                <a:gd name="T4" fmla="*/ 0 w 13"/>
                <a:gd name="T5" fmla="*/ 13 h 27"/>
                <a:gd name="T6" fmla="*/ 0 w 13"/>
                <a:gd name="T7" fmla="*/ 13 h 27"/>
                <a:gd name="T8" fmla="*/ 0 w 13"/>
                <a:gd name="T9" fmla="*/ 13 h 27"/>
                <a:gd name="T10" fmla="*/ 0 w 13"/>
                <a:gd name="T11" fmla="*/ 13 h 27"/>
                <a:gd name="T12" fmla="*/ 6 w 13"/>
                <a:gd name="T13" fmla="*/ 27 h 27"/>
                <a:gd name="T14" fmla="*/ 13 w 13"/>
                <a:gd name="T15" fmla="*/ 11 h 27"/>
                <a:gd name="T16" fmla="*/ 13 w 13"/>
                <a:gd name="T17" fmla="*/ 10 h 27"/>
                <a:gd name="T18" fmla="*/ 10 w 13"/>
                <a:gd name="T19" fmla="*/ 0 h 27"/>
                <a:gd name="T20" fmla="*/ 0 w 13"/>
                <a:gd name="T2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27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20"/>
                    <a:pt x="4" y="23"/>
                    <a:pt x="6" y="27"/>
                  </a:cubicBezTo>
                  <a:cubicBezTo>
                    <a:pt x="6" y="27"/>
                    <a:pt x="12" y="18"/>
                    <a:pt x="13" y="11"/>
                  </a:cubicBezTo>
                  <a:cubicBezTo>
                    <a:pt x="13" y="11"/>
                    <a:pt x="13" y="10"/>
                    <a:pt x="13" y="10"/>
                  </a:cubicBezTo>
                  <a:cubicBezTo>
                    <a:pt x="13" y="5"/>
                    <a:pt x="11" y="4"/>
                    <a:pt x="10" y="0"/>
                  </a:cubicBezTo>
                  <a:cubicBezTo>
                    <a:pt x="10" y="0"/>
                    <a:pt x="0" y="7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6" name="Freeform 12">
              <a:extLst>
                <a:ext uri="{FF2B5EF4-FFF2-40B4-BE49-F238E27FC236}">
                  <a16:creationId xmlns:a16="http://schemas.microsoft.com/office/drawing/2014/main" id="{AE82A5B9-50F5-485D-9617-DD8DC0C43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8613" y="1646238"/>
              <a:ext cx="85725" cy="160338"/>
            </a:xfrm>
            <a:custGeom>
              <a:avLst/>
              <a:gdLst>
                <a:gd name="T0" fmla="*/ 14 w 14"/>
                <a:gd name="T1" fmla="*/ 1 h 26"/>
                <a:gd name="T2" fmla="*/ 14 w 14"/>
                <a:gd name="T3" fmla="*/ 0 h 26"/>
                <a:gd name="T4" fmla="*/ 13 w 14"/>
                <a:gd name="T5" fmla="*/ 0 h 26"/>
                <a:gd name="T6" fmla="*/ 0 w 14"/>
                <a:gd name="T7" fmla="*/ 11 h 26"/>
                <a:gd name="T8" fmla="*/ 0 w 14"/>
                <a:gd name="T9" fmla="*/ 13 h 26"/>
                <a:gd name="T10" fmla="*/ 4 w 14"/>
                <a:gd name="T11" fmla="*/ 26 h 26"/>
                <a:gd name="T12" fmla="*/ 14 w 14"/>
                <a:gd name="T13" fmla="*/ 11 h 26"/>
                <a:gd name="T14" fmla="*/ 14 w 14"/>
                <a:gd name="T15" fmla="*/ 11 h 26"/>
                <a:gd name="T16" fmla="*/ 14 w 14"/>
                <a:gd name="T17" fmla="*/ 11 h 26"/>
                <a:gd name="T18" fmla="*/ 14 w 14"/>
                <a:gd name="T19" fmla="*/ 11 h 26"/>
                <a:gd name="T20" fmla="*/ 14 w 14"/>
                <a:gd name="T21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26">
                  <a:moveTo>
                    <a:pt x="14" y="1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1" y="1"/>
                    <a:pt x="1" y="6"/>
                    <a:pt x="0" y="11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8"/>
                    <a:pt x="2" y="21"/>
                    <a:pt x="4" y="26"/>
                  </a:cubicBezTo>
                  <a:cubicBezTo>
                    <a:pt x="4" y="26"/>
                    <a:pt x="14" y="16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7"/>
                    <a:pt x="14" y="4"/>
                    <a:pt x="1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3F035FB1-6ABD-4BB4-9E07-5EE530A837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263" y="1533525"/>
              <a:ext cx="104775" cy="130175"/>
            </a:xfrm>
            <a:custGeom>
              <a:avLst/>
              <a:gdLst>
                <a:gd name="T0" fmla="*/ 17 w 17"/>
                <a:gd name="T1" fmla="*/ 0 h 21"/>
                <a:gd name="T2" fmla="*/ 2 w 17"/>
                <a:gd name="T3" fmla="*/ 6 h 21"/>
                <a:gd name="T4" fmla="*/ 1 w 17"/>
                <a:gd name="T5" fmla="*/ 17 h 21"/>
                <a:gd name="T6" fmla="*/ 1 w 17"/>
                <a:gd name="T7" fmla="*/ 18 h 21"/>
                <a:gd name="T8" fmla="*/ 1 w 17"/>
                <a:gd name="T9" fmla="*/ 19 h 21"/>
                <a:gd name="T10" fmla="*/ 1 w 17"/>
                <a:gd name="T11" fmla="*/ 21 h 21"/>
                <a:gd name="T12" fmla="*/ 15 w 17"/>
                <a:gd name="T13" fmla="*/ 10 h 21"/>
                <a:gd name="T14" fmla="*/ 16 w 17"/>
                <a:gd name="T15" fmla="*/ 6 h 21"/>
                <a:gd name="T16" fmla="*/ 16 w 17"/>
                <a:gd name="T17" fmla="*/ 6 h 21"/>
                <a:gd name="T18" fmla="*/ 16 w 17"/>
                <a:gd name="T19" fmla="*/ 6 h 21"/>
                <a:gd name="T20" fmla="*/ 17 w 17"/>
                <a:gd name="T2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21">
                  <a:moveTo>
                    <a:pt x="17" y="0"/>
                  </a:moveTo>
                  <a:cubicBezTo>
                    <a:pt x="17" y="0"/>
                    <a:pt x="4" y="2"/>
                    <a:pt x="2" y="6"/>
                  </a:cubicBezTo>
                  <a:cubicBezTo>
                    <a:pt x="0" y="10"/>
                    <a:pt x="1" y="13"/>
                    <a:pt x="1" y="17"/>
                  </a:cubicBezTo>
                  <a:cubicBezTo>
                    <a:pt x="1" y="17"/>
                    <a:pt x="1" y="19"/>
                    <a:pt x="1" y="18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20"/>
                    <a:pt x="1" y="20"/>
                    <a:pt x="1" y="21"/>
                  </a:cubicBezTo>
                  <a:cubicBezTo>
                    <a:pt x="1" y="21"/>
                    <a:pt x="13" y="14"/>
                    <a:pt x="15" y="10"/>
                  </a:cubicBezTo>
                  <a:cubicBezTo>
                    <a:pt x="16" y="8"/>
                    <a:pt x="16" y="7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3"/>
                    <a:pt x="16" y="2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" name="Freeform 14">
              <a:extLst>
                <a:ext uri="{FF2B5EF4-FFF2-40B4-BE49-F238E27FC236}">
                  <a16:creationId xmlns:a16="http://schemas.microsoft.com/office/drawing/2014/main" id="{3E53BE9F-93DC-4864-B40B-A53B7966B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0525" y="1309688"/>
              <a:ext cx="141288" cy="87313"/>
            </a:xfrm>
            <a:custGeom>
              <a:avLst/>
              <a:gdLst>
                <a:gd name="T0" fmla="*/ 22 w 23"/>
                <a:gd name="T1" fmla="*/ 1 h 14"/>
                <a:gd name="T2" fmla="*/ 6 w 23"/>
                <a:gd name="T3" fmla="*/ 2 h 14"/>
                <a:gd name="T4" fmla="*/ 1 w 23"/>
                <a:gd name="T5" fmla="*/ 11 h 14"/>
                <a:gd name="T6" fmla="*/ 0 w 23"/>
                <a:gd name="T7" fmla="*/ 14 h 14"/>
                <a:gd name="T8" fmla="*/ 16 w 23"/>
                <a:gd name="T9" fmla="*/ 11 h 14"/>
                <a:gd name="T10" fmla="*/ 23 w 23"/>
                <a:gd name="T11" fmla="*/ 1 h 14"/>
                <a:gd name="T12" fmla="*/ 22 w 23"/>
                <a:gd name="T1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4">
                  <a:moveTo>
                    <a:pt x="22" y="1"/>
                  </a:moveTo>
                  <a:cubicBezTo>
                    <a:pt x="18" y="1"/>
                    <a:pt x="8" y="0"/>
                    <a:pt x="6" y="2"/>
                  </a:cubicBezTo>
                  <a:cubicBezTo>
                    <a:pt x="3" y="6"/>
                    <a:pt x="1" y="11"/>
                    <a:pt x="1" y="11"/>
                  </a:cubicBezTo>
                  <a:cubicBezTo>
                    <a:pt x="0" y="12"/>
                    <a:pt x="0" y="13"/>
                    <a:pt x="0" y="14"/>
                  </a:cubicBezTo>
                  <a:cubicBezTo>
                    <a:pt x="0" y="14"/>
                    <a:pt x="13" y="14"/>
                    <a:pt x="16" y="11"/>
                  </a:cubicBezTo>
                  <a:cubicBezTo>
                    <a:pt x="20" y="7"/>
                    <a:pt x="21" y="4"/>
                    <a:pt x="23" y="1"/>
                  </a:cubicBezTo>
                  <a:cubicBezTo>
                    <a:pt x="23" y="1"/>
                    <a:pt x="23" y="1"/>
                    <a:pt x="2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" name="Freeform 15">
              <a:extLst>
                <a:ext uri="{FF2B5EF4-FFF2-40B4-BE49-F238E27FC236}">
                  <a16:creationId xmlns:a16="http://schemas.microsoft.com/office/drawing/2014/main" id="{752DBC09-25B5-4910-B72B-FA52319823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725" y="1416050"/>
              <a:ext cx="123825" cy="104775"/>
            </a:xfrm>
            <a:custGeom>
              <a:avLst/>
              <a:gdLst>
                <a:gd name="T0" fmla="*/ 20 w 20"/>
                <a:gd name="T1" fmla="*/ 1 h 17"/>
                <a:gd name="T2" fmla="*/ 5 w 20"/>
                <a:gd name="T3" fmla="*/ 3 h 17"/>
                <a:gd name="T4" fmla="*/ 1 w 20"/>
                <a:gd name="T5" fmla="*/ 15 h 17"/>
                <a:gd name="T6" fmla="*/ 0 w 20"/>
                <a:gd name="T7" fmla="*/ 17 h 17"/>
                <a:gd name="T8" fmla="*/ 16 w 20"/>
                <a:gd name="T9" fmla="*/ 10 h 17"/>
                <a:gd name="T10" fmla="*/ 20 w 20"/>
                <a:gd name="T11" fmla="*/ 2 h 17"/>
                <a:gd name="T12" fmla="*/ 20 w 20"/>
                <a:gd name="T13" fmla="*/ 2 h 17"/>
                <a:gd name="T14" fmla="*/ 20 w 20"/>
                <a:gd name="T15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7">
                  <a:moveTo>
                    <a:pt x="20" y="1"/>
                  </a:moveTo>
                  <a:cubicBezTo>
                    <a:pt x="20" y="1"/>
                    <a:pt x="8" y="0"/>
                    <a:pt x="5" y="3"/>
                  </a:cubicBezTo>
                  <a:cubicBezTo>
                    <a:pt x="2" y="7"/>
                    <a:pt x="2" y="11"/>
                    <a:pt x="1" y="15"/>
                  </a:cubicBezTo>
                  <a:cubicBezTo>
                    <a:pt x="1" y="16"/>
                    <a:pt x="1" y="17"/>
                    <a:pt x="0" y="17"/>
                  </a:cubicBezTo>
                  <a:cubicBezTo>
                    <a:pt x="0" y="17"/>
                    <a:pt x="13" y="15"/>
                    <a:pt x="16" y="10"/>
                  </a:cubicBezTo>
                  <a:cubicBezTo>
                    <a:pt x="18" y="7"/>
                    <a:pt x="19" y="5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20" y="1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AEFF045A-8534-403B-9517-458D7758F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650" y="1322388"/>
              <a:ext cx="98425" cy="192088"/>
            </a:xfrm>
            <a:custGeom>
              <a:avLst/>
              <a:gdLst>
                <a:gd name="T0" fmla="*/ 10 w 16"/>
                <a:gd name="T1" fmla="*/ 31 h 31"/>
                <a:gd name="T2" fmla="*/ 11 w 16"/>
                <a:gd name="T3" fmla="*/ 29 h 31"/>
                <a:gd name="T4" fmla="*/ 11 w 16"/>
                <a:gd name="T5" fmla="*/ 29 h 31"/>
                <a:gd name="T6" fmla="*/ 14 w 16"/>
                <a:gd name="T7" fmla="*/ 19 h 31"/>
                <a:gd name="T8" fmla="*/ 8 w 16"/>
                <a:gd name="T9" fmla="*/ 0 h 31"/>
                <a:gd name="T10" fmla="*/ 1 w 16"/>
                <a:gd name="T11" fmla="*/ 16 h 31"/>
                <a:gd name="T12" fmla="*/ 1 w 16"/>
                <a:gd name="T13" fmla="*/ 16 h 31"/>
                <a:gd name="T14" fmla="*/ 1 w 16"/>
                <a:gd name="T15" fmla="*/ 16 h 31"/>
                <a:gd name="T16" fmla="*/ 10 w 16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31">
                  <a:moveTo>
                    <a:pt x="10" y="31"/>
                  </a:moveTo>
                  <a:cubicBezTo>
                    <a:pt x="11" y="30"/>
                    <a:pt x="11" y="30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2" y="26"/>
                    <a:pt x="13" y="23"/>
                    <a:pt x="14" y="19"/>
                  </a:cubicBezTo>
                  <a:cubicBezTo>
                    <a:pt x="16" y="12"/>
                    <a:pt x="8" y="0"/>
                    <a:pt x="8" y="0"/>
                  </a:cubicBezTo>
                  <a:cubicBezTo>
                    <a:pt x="5" y="6"/>
                    <a:pt x="2" y="8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0" y="23"/>
                    <a:pt x="10" y="31"/>
                    <a:pt x="10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1" name="Freeform 17">
              <a:extLst>
                <a:ext uri="{FF2B5EF4-FFF2-40B4-BE49-F238E27FC236}">
                  <a16:creationId xmlns:a16="http://schemas.microsoft.com/office/drawing/2014/main" id="{29AA06E7-D312-4349-83F7-9628057C8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900" y="1646238"/>
              <a:ext cx="100013" cy="166688"/>
            </a:xfrm>
            <a:custGeom>
              <a:avLst/>
              <a:gdLst>
                <a:gd name="T0" fmla="*/ 16 w 16"/>
                <a:gd name="T1" fmla="*/ 24 h 27"/>
                <a:gd name="T2" fmla="*/ 14 w 16"/>
                <a:gd name="T3" fmla="*/ 12 h 27"/>
                <a:gd name="T4" fmla="*/ 0 w 16"/>
                <a:gd name="T5" fmla="*/ 0 h 27"/>
                <a:gd name="T6" fmla="*/ 0 w 16"/>
                <a:gd name="T7" fmla="*/ 0 h 27"/>
                <a:gd name="T8" fmla="*/ 0 w 16"/>
                <a:gd name="T9" fmla="*/ 1 h 27"/>
                <a:gd name="T10" fmla="*/ 0 w 16"/>
                <a:gd name="T11" fmla="*/ 8 h 27"/>
                <a:gd name="T12" fmla="*/ 0 w 16"/>
                <a:gd name="T13" fmla="*/ 8 h 27"/>
                <a:gd name="T14" fmla="*/ 1 w 16"/>
                <a:gd name="T15" fmla="*/ 19 h 27"/>
                <a:gd name="T16" fmla="*/ 16 w 16"/>
                <a:gd name="T17" fmla="*/ 27 h 27"/>
                <a:gd name="T18" fmla="*/ 16 w 16"/>
                <a:gd name="T19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27">
                  <a:moveTo>
                    <a:pt x="16" y="24"/>
                  </a:moveTo>
                  <a:cubicBezTo>
                    <a:pt x="15" y="20"/>
                    <a:pt x="14" y="17"/>
                    <a:pt x="14" y="12"/>
                  </a:cubicBezTo>
                  <a:cubicBezTo>
                    <a:pt x="13" y="7"/>
                    <a:pt x="2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3"/>
                    <a:pt x="0" y="6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2"/>
                    <a:pt x="0" y="15"/>
                    <a:pt x="1" y="19"/>
                  </a:cubicBezTo>
                  <a:cubicBezTo>
                    <a:pt x="2" y="22"/>
                    <a:pt x="7" y="25"/>
                    <a:pt x="16" y="27"/>
                  </a:cubicBezTo>
                  <a:cubicBezTo>
                    <a:pt x="16" y="26"/>
                    <a:pt x="16" y="25"/>
                    <a:pt x="1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2" name="Freeform 18">
              <a:extLst>
                <a:ext uri="{FF2B5EF4-FFF2-40B4-BE49-F238E27FC236}">
                  <a16:creationId xmlns:a16="http://schemas.microsoft.com/office/drawing/2014/main" id="{EA222112-3061-4673-8442-DD4CBC6B5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2250" y="1322388"/>
              <a:ext cx="98425" cy="192088"/>
            </a:xfrm>
            <a:custGeom>
              <a:avLst/>
              <a:gdLst>
                <a:gd name="T0" fmla="*/ 1 w 16"/>
                <a:gd name="T1" fmla="*/ 19 h 31"/>
                <a:gd name="T2" fmla="*/ 4 w 16"/>
                <a:gd name="T3" fmla="*/ 29 h 31"/>
                <a:gd name="T4" fmla="*/ 4 w 16"/>
                <a:gd name="T5" fmla="*/ 29 h 31"/>
                <a:gd name="T6" fmla="*/ 5 w 16"/>
                <a:gd name="T7" fmla="*/ 31 h 31"/>
                <a:gd name="T8" fmla="*/ 15 w 16"/>
                <a:gd name="T9" fmla="*/ 16 h 31"/>
                <a:gd name="T10" fmla="*/ 15 w 16"/>
                <a:gd name="T11" fmla="*/ 16 h 31"/>
                <a:gd name="T12" fmla="*/ 15 w 16"/>
                <a:gd name="T13" fmla="*/ 16 h 31"/>
                <a:gd name="T14" fmla="*/ 8 w 16"/>
                <a:gd name="T15" fmla="*/ 0 h 31"/>
                <a:gd name="T16" fmla="*/ 1 w 16"/>
                <a:gd name="T17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31">
                  <a:moveTo>
                    <a:pt x="1" y="19"/>
                  </a:moveTo>
                  <a:cubicBezTo>
                    <a:pt x="3" y="23"/>
                    <a:pt x="4" y="26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5" y="30"/>
                    <a:pt x="5" y="31"/>
                  </a:cubicBezTo>
                  <a:cubicBezTo>
                    <a:pt x="5" y="31"/>
                    <a:pt x="16" y="23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3" y="8"/>
                    <a:pt x="11" y="6"/>
                    <a:pt x="8" y="0"/>
                  </a:cubicBezTo>
                  <a:cubicBezTo>
                    <a:pt x="8" y="0"/>
                    <a:pt x="0" y="12"/>
                    <a:pt x="1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3" name="Freeform 19">
              <a:extLst>
                <a:ext uri="{FF2B5EF4-FFF2-40B4-BE49-F238E27FC236}">
                  <a16:creationId xmlns:a16="http://schemas.microsoft.com/office/drawing/2014/main" id="{8990711E-584A-48A9-85DA-0DAB3DC92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8763" y="1471613"/>
              <a:ext cx="87313" cy="192088"/>
            </a:xfrm>
            <a:custGeom>
              <a:avLst/>
              <a:gdLst>
                <a:gd name="T0" fmla="*/ 1 w 14"/>
                <a:gd name="T1" fmla="*/ 27 h 31"/>
                <a:gd name="T2" fmla="*/ 1 w 14"/>
                <a:gd name="T3" fmla="*/ 28 h 31"/>
                <a:gd name="T4" fmla="*/ 1 w 14"/>
                <a:gd name="T5" fmla="*/ 29 h 31"/>
                <a:gd name="T6" fmla="*/ 1 w 14"/>
                <a:gd name="T7" fmla="*/ 31 h 31"/>
                <a:gd name="T8" fmla="*/ 14 w 14"/>
                <a:gd name="T9" fmla="*/ 19 h 31"/>
                <a:gd name="T10" fmla="*/ 14 w 14"/>
                <a:gd name="T11" fmla="*/ 18 h 31"/>
                <a:gd name="T12" fmla="*/ 14 w 14"/>
                <a:gd name="T13" fmla="*/ 17 h 31"/>
                <a:gd name="T14" fmla="*/ 11 w 14"/>
                <a:gd name="T15" fmla="*/ 0 h 31"/>
                <a:gd name="T16" fmla="*/ 1 w 14"/>
                <a:gd name="T17" fmla="*/ 16 h 31"/>
                <a:gd name="T18" fmla="*/ 1 w 14"/>
                <a:gd name="T19" fmla="*/ 2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31">
                  <a:moveTo>
                    <a:pt x="1" y="27"/>
                  </a:moveTo>
                  <a:cubicBezTo>
                    <a:pt x="1" y="27"/>
                    <a:pt x="1" y="28"/>
                    <a:pt x="1" y="28"/>
                  </a:cubicBezTo>
                  <a:cubicBezTo>
                    <a:pt x="1" y="28"/>
                    <a:pt x="1" y="29"/>
                    <a:pt x="1" y="29"/>
                  </a:cubicBezTo>
                  <a:cubicBezTo>
                    <a:pt x="1" y="29"/>
                    <a:pt x="1" y="30"/>
                    <a:pt x="1" y="31"/>
                  </a:cubicBezTo>
                  <a:cubicBezTo>
                    <a:pt x="1" y="31"/>
                    <a:pt x="14" y="24"/>
                    <a:pt x="14" y="19"/>
                  </a:cubicBezTo>
                  <a:cubicBezTo>
                    <a:pt x="14" y="19"/>
                    <a:pt x="14" y="18"/>
                    <a:pt x="14" y="18"/>
                  </a:cubicBezTo>
                  <a:cubicBezTo>
                    <a:pt x="14" y="18"/>
                    <a:pt x="14" y="18"/>
                    <a:pt x="14" y="17"/>
                  </a:cubicBezTo>
                  <a:cubicBezTo>
                    <a:pt x="14" y="10"/>
                    <a:pt x="13" y="6"/>
                    <a:pt x="11" y="0"/>
                  </a:cubicBezTo>
                  <a:cubicBezTo>
                    <a:pt x="11" y="0"/>
                    <a:pt x="2" y="10"/>
                    <a:pt x="1" y="16"/>
                  </a:cubicBezTo>
                  <a:cubicBezTo>
                    <a:pt x="0" y="21"/>
                    <a:pt x="1" y="23"/>
                    <a:pt x="1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4" name="Freeform 20">
              <a:extLst>
                <a:ext uri="{FF2B5EF4-FFF2-40B4-BE49-F238E27FC236}">
                  <a16:creationId xmlns:a16="http://schemas.microsoft.com/office/drawing/2014/main" id="{31C45017-42C1-4950-9233-76FDBD8F50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6063" y="1646238"/>
              <a:ext cx="106363" cy="166688"/>
            </a:xfrm>
            <a:custGeom>
              <a:avLst/>
              <a:gdLst>
                <a:gd name="T0" fmla="*/ 17 w 17"/>
                <a:gd name="T1" fmla="*/ 1 h 27"/>
                <a:gd name="T2" fmla="*/ 17 w 17"/>
                <a:gd name="T3" fmla="*/ 0 h 27"/>
                <a:gd name="T4" fmla="*/ 16 w 17"/>
                <a:gd name="T5" fmla="*/ 0 h 27"/>
                <a:gd name="T6" fmla="*/ 3 w 17"/>
                <a:gd name="T7" fmla="*/ 12 h 27"/>
                <a:gd name="T8" fmla="*/ 1 w 17"/>
                <a:gd name="T9" fmla="*/ 24 h 27"/>
                <a:gd name="T10" fmla="*/ 0 w 17"/>
                <a:gd name="T11" fmla="*/ 27 h 27"/>
                <a:gd name="T12" fmla="*/ 15 w 17"/>
                <a:gd name="T13" fmla="*/ 19 h 27"/>
                <a:gd name="T14" fmla="*/ 17 w 17"/>
                <a:gd name="T15" fmla="*/ 8 h 27"/>
                <a:gd name="T16" fmla="*/ 17 w 17"/>
                <a:gd name="T17" fmla="*/ 8 h 27"/>
                <a:gd name="T18" fmla="*/ 17 w 17"/>
                <a:gd name="T19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7">
                  <a:moveTo>
                    <a:pt x="17" y="1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4" y="1"/>
                    <a:pt x="3" y="7"/>
                    <a:pt x="3" y="12"/>
                  </a:cubicBezTo>
                  <a:cubicBezTo>
                    <a:pt x="2" y="17"/>
                    <a:pt x="2" y="20"/>
                    <a:pt x="1" y="24"/>
                  </a:cubicBezTo>
                  <a:cubicBezTo>
                    <a:pt x="0" y="25"/>
                    <a:pt x="0" y="26"/>
                    <a:pt x="0" y="27"/>
                  </a:cubicBezTo>
                  <a:cubicBezTo>
                    <a:pt x="9" y="25"/>
                    <a:pt x="14" y="22"/>
                    <a:pt x="15" y="19"/>
                  </a:cubicBezTo>
                  <a:cubicBezTo>
                    <a:pt x="16" y="15"/>
                    <a:pt x="16" y="12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6"/>
                    <a:pt x="17" y="3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5" name="Freeform 21">
              <a:extLst>
                <a:ext uri="{FF2B5EF4-FFF2-40B4-BE49-F238E27FC236}">
                  <a16:creationId xmlns:a16="http://schemas.microsoft.com/office/drawing/2014/main" id="{4A1916A3-A518-484F-A9B9-FE2775279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0500" y="1819275"/>
              <a:ext cx="136525" cy="130175"/>
            </a:xfrm>
            <a:custGeom>
              <a:avLst/>
              <a:gdLst>
                <a:gd name="T0" fmla="*/ 6 w 22"/>
                <a:gd name="T1" fmla="*/ 8 h 21"/>
                <a:gd name="T2" fmla="*/ 1 w 22"/>
                <a:gd name="T3" fmla="*/ 18 h 21"/>
                <a:gd name="T4" fmla="*/ 0 w 22"/>
                <a:gd name="T5" fmla="*/ 21 h 21"/>
                <a:gd name="T6" fmla="*/ 17 w 22"/>
                <a:gd name="T7" fmla="*/ 16 h 21"/>
                <a:gd name="T8" fmla="*/ 22 w 22"/>
                <a:gd name="T9" fmla="*/ 1 h 21"/>
                <a:gd name="T10" fmla="*/ 22 w 22"/>
                <a:gd name="T11" fmla="*/ 1 h 21"/>
                <a:gd name="T12" fmla="*/ 22 w 22"/>
                <a:gd name="T13" fmla="*/ 0 h 21"/>
                <a:gd name="T14" fmla="*/ 6 w 22"/>
                <a:gd name="T15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6" y="8"/>
                  </a:moveTo>
                  <a:cubicBezTo>
                    <a:pt x="4" y="12"/>
                    <a:pt x="3" y="15"/>
                    <a:pt x="1" y="18"/>
                  </a:cubicBezTo>
                  <a:cubicBezTo>
                    <a:pt x="1" y="19"/>
                    <a:pt x="0" y="20"/>
                    <a:pt x="0" y="21"/>
                  </a:cubicBezTo>
                  <a:cubicBezTo>
                    <a:pt x="0" y="21"/>
                    <a:pt x="15" y="20"/>
                    <a:pt x="17" y="16"/>
                  </a:cubicBezTo>
                  <a:cubicBezTo>
                    <a:pt x="20" y="10"/>
                    <a:pt x="21" y="7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0"/>
                    <a:pt x="22" y="0"/>
                  </a:cubicBezTo>
                  <a:cubicBezTo>
                    <a:pt x="22" y="0"/>
                    <a:pt x="8" y="3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6" name="Freeform 22">
              <a:extLst>
                <a:ext uri="{FF2B5EF4-FFF2-40B4-BE49-F238E27FC236}">
                  <a16:creationId xmlns:a16="http://schemas.microsoft.com/office/drawing/2014/main" id="{A29DE525-B95D-469D-9428-0FF82EEBEB6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7638" y="1646238"/>
              <a:ext cx="87313" cy="160338"/>
            </a:xfrm>
            <a:custGeom>
              <a:avLst/>
              <a:gdLst>
                <a:gd name="T0" fmla="*/ 0 w 14"/>
                <a:gd name="T1" fmla="*/ 11 h 26"/>
                <a:gd name="T2" fmla="*/ 11 w 14"/>
                <a:gd name="T3" fmla="*/ 26 h 26"/>
                <a:gd name="T4" fmla="*/ 14 w 14"/>
                <a:gd name="T5" fmla="*/ 13 h 26"/>
                <a:gd name="T6" fmla="*/ 14 w 14"/>
                <a:gd name="T7" fmla="*/ 11 h 26"/>
                <a:gd name="T8" fmla="*/ 1 w 14"/>
                <a:gd name="T9" fmla="*/ 0 h 26"/>
                <a:gd name="T10" fmla="*/ 1 w 14"/>
                <a:gd name="T11" fmla="*/ 0 h 26"/>
                <a:gd name="T12" fmla="*/ 1 w 14"/>
                <a:gd name="T13" fmla="*/ 1 h 26"/>
                <a:gd name="T14" fmla="*/ 0 w 14"/>
                <a:gd name="T15" fmla="*/ 11 h 26"/>
                <a:gd name="T16" fmla="*/ 0 w 14"/>
                <a:gd name="T17" fmla="*/ 11 h 26"/>
                <a:gd name="T18" fmla="*/ 0 w 14"/>
                <a:gd name="T19" fmla="*/ 11 h 26"/>
                <a:gd name="T20" fmla="*/ 0 w 14"/>
                <a:gd name="T21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26">
                  <a:moveTo>
                    <a:pt x="0" y="11"/>
                  </a:moveTo>
                  <a:cubicBezTo>
                    <a:pt x="0" y="16"/>
                    <a:pt x="11" y="26"/>
                    <a:pt x="11" y="26"/>
                  </a:cubicBezTo>
                  <a:cubicBezTo>
                    <a:pt x="12" y="21"/>
                    <a:pt x="14" y="18"/>
                    <a:pt x="14" y="13"/>
                  </a:cubicBezTo>
                  <a:cubicBezTo>
                    <a:pt x="14" y="13"/>
                    <a:pt x="14" y="12"/>
                    <a:pt x="14" y="11"/>
                  </a:cubicBezTo>
                  <a:cubicBezTo>
                    <a:pt x="13" y="6"/>
                    <a:pt x="3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4"/>
                    <a:pt x="0" y="7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7" name="Freeform 23">
              <a:extLst>
                <a:ext uri="{FF2B5EF4-FFF2-40B4-BE49-F238E27FC236}">
                  <a16:creationId xmlns:a16="http://schemas.microsoft.com/office/drawing/2014/main" id="{20DF8682-A70F-40EA-ABC1-D2450778A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1288" y="1533525"/>
              <a:ext cx="98425" cy="130175"/>
            </a:xfrm>
            <a:custGeom>
              <a:avLst/>
              <a:gdLst>
                <a:gd name="T0" fmla="*/ 14 w 16"/>
                <a:gd name="T1" fmla="*/ 6 h 21"/>
                <a:gd name="T2" fmla="*/ 0 w 16"/>
                <a:gd name="T3" fmla="*/ 0 h 21"/>
                <a:gd name="T4" fmla="*/ 0 w 16"/>
                <a:gd name="T5" fmla="*/ 6 h 21"/>
                <a:gd name="T6" fmla="*/ 0 w 16"/>
                <a:gd name="T7" fmla="*/ 6 h 21"/>
                <a:gd name="T8" fmla="*/ 0 w 16"/>
                <a:gd name="T9" fmla="*/ 6 h 21"/>
                <a:gd name="T10" fmla="*/ 1 w 16"/>
                <a:gd name="T11" fmla="*/ 10 h 21"/>
                <a:gd name="T12" fmla="*/ 15 w 16"/>
                <a:gd name="T13" fmla="*/ 21 h 21"/>
                <a:gd name="T14" fmla="*/ 15 w 16"/>
                <a:gd name="T15" fmla="*/ 19 h 21"/>
                <a:gd name="T16" fmla="*/ 15 w 16"/>
                <a:gd name="T17" fmla="*/ 18 h 21"/>
                <a:gd name="T18" fmla="*/ 15 w 16"/>
                <a:gd name="T19" fmla="*/ 17 h 21"/>
                <a:gd name="T20" fmla="*/ 14 w 16"/>
                <a:gd name="T21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1">
                  <a:moveTo>
                    <a:pt x="14" y="6"/>
                  </a:moveTo>
                  <a:cubicBezTo>
                    <a:pt x="12" y="2"/>
                    <a:pt x="0" y="0"/>
                    <a:pt x="0" y="0"/>
                  </a:cubicBezTo>
                  <a:cubicBezTo>
                    <a:pt x="0" y="2"/>
                    <a:pt x="0" y="3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1" y="8"/>
                    <a:pt x="1" y="10"/>
                  </a:cubicBezTo>
                  <a:cubicBezTo>
                    <a:pt x="3" y="14"/>
                    <a:pt x="15" y="21"/>
                    <a:pt x="15" y="21"/>
                  </a:cubicBezTo>
                  <a:cubicBezTo>
                    <a:pt x="15" y="20"/>
                    <a:pt x="15" y="20"/>
                    <a:pt x="15" y="19"/>
                  </a:cubicBezTo>
                  <a:cubicBezTo>
                    <a:pt x="15" y="19"/>
                    <a:pt x="15" y="19"/>
                    <a:pt x="15" y="18"/>
                  </a:cubicBezTo>
                  <a:cubicBezTo>
                    <a:pt x="15" y="19"/>
                    <a:pt x="15" y="17"/>
                    <a:pt x="15" y="17"/>
                  </a:cubicBezTo>
                  <a:cubicBezTo>
                    <a:pt x="15" y="13"/>
                    <a:pt x="16" y="10"/>
                    <a:pt x="1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8" name="Freeform 24">
              <a:extLst>
                <a:ext uri="{FF2B5EF4-FFF2-40B4-BE49-F238E27FC236}">
                  <a16:creationId xmlns:a16="http://schemas.microsoft.com/office/drawing/2014/main" id="{184661CA-6EF9-46D7-8833-EC466F389E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8425" y="1416050"/>
              <a:ext cx="123825" cy="104775"/>
            </a:xfrm>
            <a:custGeom>
              <a:avLst/>
              <a:gdLst>
                <a:gd name="T0" fmla="*/ 1 w 20"/>
                <a:gd name="T1" fmla="*/ 2 h 17"/>
                <a:gd name="T2" fmla="*/ 4 w 20"/>
                <a:gd name="T3" fmla="*/ 10 h 17"/>
                <a:gd name="T4" fmla="*/ 20 w 20"/>
                <a:gd name="T5" fmla="*/ 17 h 17"/>
                <a:gd name="T6" fmla="*/ 19 w 20"/>
                <a:gd name="T7" fmla="*/ 15 h 17"/>
                <a:gd name="T8" fmla="*/ 16 w 20"/>
                <a:gd name="T9" fmla="*/ 3 h 17"/>
                <a:gd name="T10" fmla="*/ 0 w 20"/>
                <a:gd name="T11" fmla="*/ 1 h 17"/>
                <a:gd name="T12" fmla="*/ 1 w 20"/>
                <a:gd name="T13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7">
                  <a:moveTo>
                    <a:pt x="1" y="2"/>
                  </a:moveTo>
                  <a:cubicBezTo>
                    <a:pt x="2" y="5"/>
                    <a:pt x="2" y="7"/>
                    <a:pt x="4" y="10"/>
                  </a:cubicBezTo>
                  <a:cubicBezTo>
                    <a:pt x="7" y="15"/>
                    <a:pt x="20" y="17"/>
                    <a:pt x="20" y="17"/>
                  </a:cubicBezTo>
                  <a:cubicBezTo>
                    <a:pt x="20" y="17"/>
                    <a:pt x="20" y="16"/>
                    <a:pt x="19" y="15"/>
                  </a:cubicBezTo>
                  <a:cubicBezTo>
                    <a:pt x="19" y="11"/>
                    <a:pt x="18" y="7"/>
                    <a:pt x="16" y="3"/>
                  </a:cubicBezTo>
                  <a:cubicBezTo>
                    <a:pt x="13" y="0"/>
                    <a:pt x="0" y="1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9" name="Freeform 25">
              <a:extLst>
                <a:ext uri="{FF2B5EF4-FFF2-40B4-BE49-F238E27FC236}">
                  <a16:creationId xmlns:a16="http://schemas.microsoft.com/office/drawing/2014/main" id="{07DAC38B-230B-4D03-A11E-E33A1086A0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0163" y="1309688"/>
              <a:ext cx="147638" cy="87313"/>
            </a:xfrm>
            <a:custGeom>
              <a:avLst/>
              <a:gdLst>
                <a:gd name="T0" fmla="*/ 24 w 24"/>
                <a:gd name="T1" fmla="*/ 14 h 14"/>
                <a:gd name="T2" fmla="*/ 23 w 24"/>
                <a:gd name="T3" fmla="*/ 11 h 14"/>
                <a:gd name="T4" fmla="*/ 17 w 24"/>
                <a:gd name="T5" fmla="*/ 2 h 14"/>
                <a:gd name="T6" fmla="*/ 1 w 24"/>
                <a:gd name="T7" fmla="*/ 1 h 14"/>
                <a:gd name="T8" fmla="*/ 0 w 24"/>
                <a:gd name="T9" fmla="*/ 1 h 14"/>
                <a:gd name="T10" fmla="*/ 7 w 24"/>
                <a:gd name="T11" fmla="*/ 11 h 14"/>
                <a:gd name="T12" fmla="*/ 24 w 24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4">
                  <a:moveTo>
                    <a:pt x="24" y="14"/>
                  </a:moveTo>
                  <a:cubicBezTo>
                    <a:pt x="23" y="13"/>
                    <a:pt x="23" y="12"/>
                    <a:pt x="23" y="11"/>
                  </a:cubicBezTo>
                  <a:cubicBezTo>
                    <a:pt x="23" y="11"/>
                    <a:pt x="20" y="6"/>
                    <a:pt x="17" y="2"/>
                  </a:cubicBezTo>
                  <a:cubicBezTo>
                    <a:pt x="15" y="0"/>
                    <a:pt x="5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4"/>
                    <a:pt x="4" y="7"/>
                    <a:pt x="7" y="11"/>
                  </a:cubicBezTo>
                  <a:cubicBezTo>
                    <a:pt x="10" y="14"/>
                    <a:pt x="24" y="14"/>
                    <a:pt x="24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0" name="Freeform 26">
              <a:extLst>
                <a:ext uri="{FF2B5EF4-FFF2-40B4-BE49-F238E27FC236}">
                  <a16:creationId xmlns:a16="http://schemas.microsoft.com/office/drawing/2014/main" id="{9322EFA4-4180-4CA5-B4B8-EFF6BEBC50E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5888" y="1770063"/>
              <a:ext cx="87313" cy="166688"/>
            </a:xfrm>
            <a:custGeom>
              <a:avLst/>
              <a:gdLst>
                <a:gd name="T0" fmla="*/ 13 w 14"/>
                <a:gd name="T1" fmla="*/ 13 h 27"/>
                <a:gd name="T2" fmla="*/ 13 w 14"/>
                <a:gd name="T3" fmla="*/ 13 h 27"/>
                <a:gd name="T4" fmla="*/ 13 w 14"/>
                <a:gd name="T5" fmla="*/ 13 h 27"/>
                <a:gd name="T6" fmla="*/ 13 w 14"/>
                <a:gd name="T7" fmla="*/ 13 h 27"/>
                <a:gd name="T8" fmla="*/ 13 w 14"/>
                <a:gd name="T9" fmla="*/ 13 h 27"/>
                <a:gd name="T10" fmla="*/ 4 w 14"/>
                <a:gd name="T11" fmla="*/ 0 h 27"/>
                <a:gd name="T12" fmla="*/ 0 w 14"/>
                <a:gd name="T13" fmla="*/ 10 h 27"/>
                <a:gd name="T14" fmla="*/ 0 w 14"/>
                <a:gd name="T15" fmla="*/ 11 h 27"/>
                <a:gd name="T16" fmla="*/ 7 w 14"/>
                <a:gd name="T17" fmla="*/ 27 h 27"/>
                <a:gd name="T18" fmla="*/ 13 w 14"/>
                <a:gd name="T19" fmla="*/ 13 h 27"/>
                <a:gd name="T20" fmla="*/ 13 w 14"/>
                <a:gd name="T2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27">
                  <a:moveTo>
                    <a:pt x="13" y="13"/>
                  </a:move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7"/>
                    <a:pt x="4" y="0"/>
                    <a:pt x="4" y="0"/>
                  </a:cubicBezTo>
                  <a:cubicBezTo>
                    <a:pt x="3" y="4"/>
                    <a:pt x="1" y="5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1" y="18"/>
                    <a:pt x="7" y="27"/>
                    <a:pt x="7" y="27"/>
                  </a:cubicBezTo>
                  <a:cubicBezTo>
                    <a:pt x="10" y="23"/>
                    <a:pt x="12" y="20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1" name="Freeform 27">
              <a:extLst>
                <a:ext uri="{FF2B5EF4-FFF2-40B4-BE49-F238E27FC236}">
                  <a16:creationId xmlns:a16="http://schemas.microsoft.com/office/drawing/2014/main" id="{D12AECAD-07C8-4878-8E74-0638C1548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3988" y="1185863"/>
              <a:ext cx="92075" cy="198438"/>
            </a:xfrm>
            <a:custGeom>
              <a:avLst/>
              <a:gdLst>
                <a:gd name="T0" fmla="*/ 2 w 15"/>
                <a:gd name="T1" fmla="*/ 19 h 32"/>
                <a:gd name="T2" fmla="*/ 8 w 15"/>
                <a:gd name="T3" fmla="*/ 32 h 32"/>
                <a:gd name="T4" fmla="*/ 15 w 15"/>
                <a:gd name="T5" fmla="*/ 17 h 32"/>
                <a:gd name="T6" fmla="*/ 15 w 15"/>
                <a:gd name="T7" fmla="*/ 17 h 32"/>
                <a:gd name="T8" fmla="*/ 14 w 15"/>
                <a:gd name="T9" fmla="*/ 14 h 32"/>
                <a:gd name="T10" fmla="*/ 4 w 15"/>
                <a:gd name="T11" fmla="*/ 0 h 32"/>
                <a:gd name="T12" fmla="*/ 3 w 15"/>
                <a:gd name="T13" fmla="*/ 5 h 32"/>
                <a:gd name="T14" fmla="*/ 2 w 15"/>
                <a:gd name="T15" fmla="*/ 7 h 32"/>
                <a:gd name="T16" fmla="*/ 2 w 15"/>
                <a:gd name="T17" fmla="*/ 7 h 32"/>
                <a:gd name="T18" fmla="*/ 2 w 15"/>
                <a:gd name="T19" fmla="*/ 7 h 32"/>
                <a:gd name="T20" fmla="*/ 2 w 15"/>
                <a:gd name="T21" fmla="*/ 1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32">
                  <a:moveTo>
                    <a:pt x="2" y="19"/>
                  </a:moveTo>
                  <a:cubicBezTo>
                    <a:pt x="5" y="24"/>
                    <a:pt x="6" y="27"/>
                    <a:pt x="8" y="32"/>
                  </a:cubicBezTo>
                  <a:cubicBezTo>
                    <a:pt x="8" y="32"/>
                    <a:pt x="14" y="23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6"/>
                    <a:pt x="15" y="15"/>
                    <a:pt x="14" y="14"/>
                  </a:cubicBezTo>
                  <a:cubicBezTo>
                    <a:pt x="11" y="8"/>
                    <a:pt x="8" y="4"/>
                    <a:pt x="4" y="0"/>
                  </a:cubicBezTo>
                  <a:cubicBezTo>
                    <a:pt x="4" y="0"/>
                    <a:pt x="3" y="2"/>
                    <a:pt x="3" y="5"/>
                  </a:cubicBezTo>
                  <a:cubicBezTo>
                    <a:pt x="2" y="6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11"/>
                    <a:pt x="0" y="16"/>
                    <a:pt x="2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2" name="Freeform 28">
              <a:extLst>
                <a:ext uri="{FF2B5EF4-FFF2-40B4-BE49-F238E27FC236}">
                  <a16:creationId xmlns:a16="http://schemas.microsoft.com/office/drawing/2014/main" id="{F77F569B-BCF0-4BA0-A243-E86388FE6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3563" y="1446213"/>
              <a:ext cx="395288" cy="398463"/>
            </a:xfrm>
            <a:custGeom>
              <a:avLst/>
              <a:gdLst>
                <a:gd name="T0" fmla="*/ 54 w 64"/>
                <a:gd name="T1" fmla="*/ 64 h 64"/>
                <a:gd name="T2" fmla="*/ 51 w 64"/>
                <a:gd name="T3" fmla="*/ 24 h 64"/>
                <a:gd name="T4" fmla="*/ 51 w 64"/>
                <a:gd name="T5" fmla="*/ 13 h 64"/>
                <a:gd name="T6" fmla="*/ 48 w 64"/>
                <a:gd name="T7" fmla="*/ 24 h 64"/>
                <a:gd name="T8" fmla="*/ 36 w 64"/>
                <a:gd name="T9" fmla="*/ 64 h 64"/>
                <a:gd name="T10" fmla="*/ 27 w 64"/>
                <a:gd name="T11" fmla="*/ 64 h 64"/>
                <a:gd name="T12" fmla="*/ 16 w 64"/>
                <a:gd name="T13" fmla="*/ 25 h 64"/>
                <a:gd name="T14" fmla="*/ 14 w 64"/>
                <a:gd name="T15" fmla="*/ 13 h 64"/>
                <a:gd name="T16" fmla="*/ 13 w 64"/>
                <a:gd name="T17" fmla="*/ 25 h 64"/>
                <a:gd name="T18" fmla="*/ 10 w 64"/>
                <a:gd name="T19" fmla="*/ 64 h 64"/>
                <a:gd name="T20" fmla="*/ 0 w 64"/>
                <a:gd name="T21" fmla="*/ 64 h 64"/>
                <a:gd name="T22" fmla="*/ 6 w 64"/>
                <a:gd name="T23" fmla="*/ 0 h 64"/>
                <a:gd name="T24" fmla="*/ 20 w 64"/>
                <a:gd name="T25" fmla="*/ 0 h 64"/>
                <a:gd name="T26" fmla="*/ 30 w 64"/>
                <a:gd name="T27" fmla="*/ 36 h 64"/>
                <a:gd name="T28" fmla="*/ 32 w 64"/>
                <a:gd name="T29" fmla="*/ 47 h 64"/>
                <a:gd name="T30" fmla="*/ 34 w 64"/>
                <a:gd name="T31" fmla="*/ 37 h 64"/>
                <a:gd name="T32" fmla="*/ 45 w 64"/>
                <a:gd name="T33" fmla="*/ 0 h 64"/>
                <a:gd name="T34" fmla="*/ 59 w 64"/>
                <a:gd name="T35" fmla="*/ 0 h 64"/>
                <a:gd name="T36" fmla="*/ 64 w 64"/>
                <a:gd name="T37" fmla="*/ 64 h 64"/>
                <a:gd name="T38" fmla="*/ 54 w 64"/>
                <a:gd name="T3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" h="64">
                  <a:moveTo>
                    <a:pt x="54" y="64"/>
                  </a:moveTo>
                  <a:cubicBezTo>
                    <a:pt x="51" y="24"/>
                    <a:pt x="51" y="24"/>
                    <a:pt x="51" y="24"/>
                  </a:cubicBezTo>
                  <a:cubicBezTo>
                    <a:pt x="51" y="20"/>
                    <a:pt x="51" y="15"/>
                    <a:pt x="51" y="13"/>
                  </a:cubicBezTo>
                  <a:cubicBezTo>
                    <a:pt x="50" y="15"/>
                    <a:pt x="49" y="19"/>
                    <a:pt x="48" y="2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5" y="21"/>
                    <a:pt x="14" y="15"/>
                    <a:pt x="14" y="13"/>
                  </a:cubicBezTo>
                  <a:cubicBezTo>
                    <a:pt x="14" y="15"/>
                    <a:pt x="13" y="21"/>
                    <a:pt x="13" y="25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1" y="42"/>
                    <a:pt x="32" y="45"/>
                    <a:pt x="32" y="47"/>
                  </a:cubicBezTo>
                  <a:cubicBezTo>
                    <a:pt x="32" y="45"/>
                    <a:pt x="33" y="41"/>
                    <a:pt x="34" y="37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4" y="64"/>
                    <a:pt x="64" y="64"/>
                    <a:pt x="64" y="64"/>
                  </a:cubicBezTo>
                  <a:lnTo>
                    <a:pt x="54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3" name="Freeform 29">
              <a:extLst>
                <a:ext uri="{FF2B5EF4-FFF2-40B4-BE49-F238E27FC236}">
                  <a16:creationId xmlns:a16="http://schemas.microsoft.com/office/drawing/2014/main" id="{AA436676-BAA5-410F-AF10-1EFA98066B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4413" y="1446213"/>
              <a:ext cx="273050" cy="398463"/>
            </a:xfrm>
            <a:custGeom>
              <a:avLst/>
              <a:gdLst>
                <a:gd name="T0" fmla="*/ 31 w 44"/>
                <a:gd name="T1" fmla="*/ 64 h 64"/>
                <a:gd name="T2" fmla="*/ 26 w 44"/>
                <a:gd name="T3" fmla="*/ 54 h 64"/>
                <a:gd name="T4" fmla="*/ 15 w 44"/>
                <a:gd name="T5" fmla="*/ 38 h 64"/>
                <a:gd name="T6" fmla="*/ 10 w 44"/>
                <a:gd name="T7" fmla="*/ 36 h 64"/>
                <a:gd name="T8" fmla="*/ 10 w 44"/>
                <a:gd name="T9" fmla="*/ 64 h 64"/>
                <a:gd name="T10" fmla="*/ 0 w 44"/>
                <a:gd name="T11" fmla="*/ 64 h 64"/>
                <a:gd name="T12" fmla="*/ 0 w 44"/>
                <a:gd name="T13" fmla="*/ 0 h 64"/>
                <a:gd name="T14" fmla="*/ 20 w 44"/>
                <a:gd name="T15" fmla="*/ 0 h 64"/>
                <a:gd name="T16" fmla="*/ 41 w 44"/>
                <a:gd name="T17" fmla="*/ 18 h 64"/>
                <a:gd name="T18" fmla="*/ 25 w 44"/>
                <a:gd name="T19" fmla="*/ 36 h 64"/>
                <a:gd name="T20" fmla="*/ 35 w 44"/>
                <a:gd name="T21" fmla="*/ 49 h 64"/>
                <a:gd name="T22" fmla="*/ 44 w 44"/>
                <a:gd name="T23" fmla="*/ 64 h 64"/>
                <a:gd name="T24" fmla="*/ 31 w 44"/>
                <a:gd name="T25" fmla="*/ 64 h 64"/>
                <a:gd name="T26" fmla="*/ 16 w 44"/>
                <a:gd name="T27" fmla="*/ 9 h 64"/>
                <a:gd name="T28" fmla="*/ 10 w 44"/>
                <a:gd name="T29" fmla="*/ 9 h 64"/>
                <a:gd name="T30" fmla="*/ 10 w 44"/>
                <a:gd name="T31" fmla="*/ 29 h 64"/>
                <a:gd name="T32" fmla="*/ 16 w 44"/>
                <a:gd name="T33" fmla="*/ 29 h 64"/>
                <a:gd name="T34" fmla="*/ 26 w 44"/>
                <a:gd name="T35" fmla="*/ 26 h 64"/>
                <a:gd name="T36" fmla="*/ 29 w 44"/>
                <a:gd name="T37" fmla="*/ 18 h 64"/>
                <a:gd name="T38" fmla="*/ 16 w 44"/>
                <a:gd name="T39" fmla="*/ 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4" h="64">
                  <a:moveTo>
                    <a:pt x="31" y="64"/>
                  </a:moveTo>
                  <a:cubicBezTo>
                    <a:pt x="26" y="54"/>
                    <a:pt x="26" y="54"/>
                    <a:pt x="26" y="54"/>
                  </a:cubicBezTo>
                  <a:cubicBezTo>
                    <a:pt x="21" y="46"/>
                    <a:pt x="18" y="42"/>
                    <a:pt x="15" y="38"/>
                  </a:cubicBezTo>
                  <a:cubicBezTo>
                    <a:pt x="13" y="37"/>
                    <a:pt x="13" y="37"/>
                    <a:pt x="10" y="36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34" y="0"/>
                    <a:pt x="41" y="8"/>
                    <a:pt x="41" y="18"/>
                  </a:cubicBezTo>
                  <a:cubicBezTo>
                    <a:pt x="41" y="28"/>
                    <a:pt x="35" y="36"/>
                    <a:pt x="25" y="36"/>
                  </a:cubicBezTo>
                  <a:cubicBezTo>
                    <a:pt x="27" y="37"/>
                    <a:pt x="31" y="43"/>
                    <a:pt x="35" y="49"/>
                  </a:cubicBezTo>
                  <a:cubicBezTo>
                    <a:pt x="44" y="64"/>
                    <a:pt x="44" y="64"/>
                    <a:pt x="44" y="64"/>
                  </a:cubicBezTo>
                  <a:lnTo>
                    <a:pt x="31" y="64"/>
                  </a:lnTo>
                  <a:close/>
                  <a:moveTo>
                    <a:pt x="16" y="9"/>
                  </a:moveTo>
                  <a:cubicBezTo>
                    <a:pt x="10" y="9"/>
                    <a:pt x="10" y="9"/>
                    <a:pt x="10" y="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22" y="29"/>
                    <a:pt x="25" y="28"/>
                    <a:pt x="26" y="26"/>
                  </a:cubicBezTo>
                  <a:cubicBezTo>
                    <a:pt x="28" y="24"/>
                    <a:pt x="29" y="22"/>
                    <a:pt x="29" y="18"/>
                  </a:cubicBezTo>
                  <a:cubicBezTo>
                    <a:pt x="29" y="12"/>
                    <a:pt x="26" y="9"/>
                    <a:pt x="16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4" name="Freeform 30">
              <a:extLst>
                <a:ext uri="{FF2B5EF4-FFF2-40B4-BE49-F238E27FC236}">
                  <a16:creationId xmlns:a16="http://schemas.microsoft.com/office/drawing/2014/main" id="{456D4D6A-3696-43E9-8806-E67B6EDDC0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163" y="1881188"/>
              <a:ext cx="1276350" cy="465138"/>
            </a:xfrm>
            <a:custGeom>
              <a:avLst/>
              <a:gdLst>
                <a:gd name="T0" fmla="*/ 175 w 206"/>
                <a:gd name="T1" fmla="*/ 0 h 75"/>
                <a:gd name="T2" fmla="*/ 91 w 206"/>
                <a:gd name="T3" fmla="*/ 42 h 75"/>
                <a:gd name="T4" fmla="*/ 13 w 206"/>
                <a:gd name="T5" fmla="*/ 15 h 75"/>
                <a:gd name="T6" fmla="*/ 7 w 206"/>
                <a:gd name="T7" fmla="*/ 26 h 75"/>
                <a:gd name="T8" fmla="*/ 15 w 206"/>
                <a:gd name="T9" fmla="*/ 34 h 75"/>
                <a:gd name="T10" fmla="*/ 24 w 206"/>
                <a:gd name="T11" fmla="*/ 34 h 75"/>
                <a:gd name="T12" fmla="*/ 28 w 206"/>
                <a:gd name="T13" fmla="*/ 38 h 75"/>
                <a:gd name="T14" fmla="*/ 27 w 206"/>
                <a:gd name="T15" fmla="*/ 48 h 75"/>
                <a:gd name="T16" fmla="*/ 38 w 206"/>
                <a:gd name="T17" fmla="*/ 54 h 75"/>
                <a:gd name="T18" fmla="*/ 46 w 206"/>
                <a:gd name="T19" fmla="*/ 52 h 75"/>
                <a:gd name="T20" fmla="*/ 52 w 206"/>
                <a:gd name="T21" fmla="*/ 57 h 75"/>
                <a:gd name="T22" fmla="*/ 52 w 206"/>
                <a:gd name="T23" fmla="*/ 63 h 75"/>
                <a:gd name="T24" fmla="*/ 63 w 206"/>
                <a:gd name="T25" fmla="*/ 69 h 75"/>
                <a:gd name="T26" fmla="*/ 71 w 206"/>
                <a:gd name="T27" fmla="*/ 63 h 75"/>
                <a:gd name="T28" fmla="*/ 81 w 206"/>
                <a:gd name="T29" fmla="*/ 72 h 75"/>
                <a:gd name="T30" fmla="*/ 94 w 206"/>
                <a:gd name="T31" fmla="*/ 74 h 75"/>
                <a:gd name="T32" fmla="*/ 97 w 206"/>
                <a:gd name="T33" fmla="*/ 69 h 75"/>
                <a:gd name="T34" fmla="*/ 98 w 206"/>
                <a:gd name="T35" fmla="*/ 69 h 75"/>
                <a:gd name="T36" fmla="*/ 98 w 206"/>
                <a:gd name="T37" fmla="*/ 68 h 75"/>
                <a:gd name="T38" fmla="*/ 99 w 206"/>
                <a:gd name="T39" fmla="*/ 68 h 75"/>
                <a:gd name="T40" fmla="*/ 100 w 206"/>
                <a:gd name="T41" fmla="*/ 68 h 75"/>
                <a:gd name="T42" fmla="*/ 109 w 206"/>
                <a:gd name="T43" fmla="*/ 70 h 75"/>
                <a:gd name="T44" fmla="*/ 123 w 206"/>
                <a:gd name="T45" fmla="*/ 74 h 75"/>
                <a:gd name="T46" fmla="*/ 124 w 206"/>
                <a:gd name="T47" fmla="*/ 74 h 75"/>
                <a:gd name="T48" fmla="*/ 124 w 206"/>
                <a:gd name="T49" fmla="*/ 74 h 75"/>
                <a:gd name="T50" fmla="*/ 124 w 206"/>
                <a:gd name="T51" fmla="*/ 73 h 75"/>
                <a:gd name="T52" fmla="*/ 125 w 206"/>
                <a:gd name="T53" fmla="*/ 73 h 75"/>
                <a:gd name="T54" fmla="*/ 126 w 206"/>
                <a:gd name="T55" fmla="*/ 67 h 75"/>
                <a:gd name="T56" fmla="*/ 127 w 206"/>
                <a:gd name="T57" fmla="*/ 66 h 75"/>
                <a:gd name="T58" fmla="*/ 127 w 206"/>
                <a:gd name="T59" fmla="*/ 66 h 75"/>
                <a:gd name="T60" fmla="*/ 127 w 206"/>
                <a:gd name="T61" fmla="*/ 65 h 75"/>
                <a:gd name="T62" fmla="*/ 128 w 206"/>
                <a:gd name="T63" fmla="*/ 65 h 75"/>
                <a:gd name="T64" fmla="*/ 137 w 206"/>
                <a:gd name="T65" fmla="*/ 65 h 75"/>
                <a:gd name="T66" fmla="*/ 143 w 206"/>
                <a:gd name="T67" fmla="*/ 69 h 75"/>
                <a:gd name="T68" fmla="*/ 153 w 206"/>
                <a:gd name="T69" fmla="*/ 62 h 75"/>
                <a:gd name="T70" fmla="*/ 154 w 206"/>
                <a:gd name="T71" fmla="*/ 56 h 75"/>
                <a:gd name="T72" fmla="*/ 154 w 206"/>
                <a:gd name="T73" fmla="*/ 55 h 75"/>
                <a:gd name="T74" fmla="*/ 155 w 206"/>
                <a:gd name="T75" fmla="*/ 54 h 75"/>
                <a:gd name="T76" fmla="*/ 163 w 206"/>
                <a:gd name="T77" fmla="*/ 52 h 75"/>
                <a:gd name="T78" fmla="*/ 170 w 206"/>
                <a:gd name="T79" fmla="*/ 54 h 75"/>
                <a:gd name="T80" fmla="*/ 179 w 206"/>
                <a:gd name="T81" fmla="*/ 48 h 75"/>
                <a:gd name="T82" fmla="*/ 178 w 206"/>
                <a:gd name="T83" fmla="*/ 38 h 75"/>
                <a:gd name="T84" fmla="*/ 178 w 206"/>
                <a:gd name="T85" fmla="*/ 37 h 75"/>
                <a:gd name="T86" fmla="*/ 190 w 206"/>
                <a:gd name="T87" fmla="*/ 34 h 75"/>
                <a:gd name="T88" fmla="*/ 198 w 206"/>
                <a:gd name="T89" fmla="*/ 2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6" h="75">
                  <a:moveTo>
                    <a:pt x="204" y="13"/>
                  </a:moveTo>
                  <a:cubicBezTo>
                    <a:pt x="203" y="13"/>
                    <a:pt x="195" y="16"/>
                    <a:pt x="184" y="16"/>
                  </a:cubicBezTo>
                  <a:cubicBezTo>
                    <a:pt x="180" y="11"/>
                    <a:pt x="176" y="0"/>
                    <a:pt x="175" y="0"/>
                  </a:cubicBezTo>
                  <a:cubicBezTo>
                    <a:pt x="164" y="22"/>
                    <a:pt x="141" y="38"/>
                    <a:pt x="114" y="42"/>
                  </a:cubicBezTo>
                  <a:cubicBezTo>
                    <a:pt x="110" y="42"/>
                    <a:pt x="106" y="43"/>
                    <a:pt x="103" y="43"/>
                  </a:cubicBezTo>
                  <a:cubicBezTo>
                    <a:pt x="99" y="43"/>
                    <a:pt x="95" y="42"/>
                    <a:pt x="91" y="42"/>
                  </a:cubicBezTo>
                  <a:cubicBezTo>
                    <a:pt x="64" y="38"/>
                    <a:pt x="42" y="22"/>
                    <a:pt x="30" y="0"/>
                  </a:cubicBezTo>
                  <a:cubicBezTo>
                    <a:pt x="30" y="0"/>
                    <a:pt x="26" y="12"/>
                    <a:pt x="21" y="16"/>
                  </a:cubicBezTo>
                  <a:cubicBezTo>
                    <a:pt x="20" y="16"/>
                    <a:pt x="17" y="16"/>
                    <a:pt x="13" y="15"/>
                  </a:cubicBezTo>
                  <a:cubicBezTo>
                    <a:pt x="7" y="14"/>
                    <a:pt x="2" y="13"/>
                    <a:pt x="1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6"/>
                    <a:pt x="5" y="22"/>
                    <a:pt x="7" y="26"/>
                  </a:cubicBezTo>
                  <a:cubicBezTo>
                    <a:pt x="8" y="26"/>
                    <a:pt x="12" y="32"/>
                    <a:pt x="13" y="34"/>
                  </a:cubicBezTo>
                  <a:cubicBezTo>
                    <a:pt x="14" y="34"/>
                    <a:pt x="14" y="34"/>
                    <a:pt x="15" y="34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22" y="33"/>
                    <a:pt x="22" y="33"/>
                  </a:cubicBezTo>
                  <a:cubicBezTo>
                    <a:pt x="23" y="33"/>
                    <a:pt x="23" y="33"/>
                    <a:pt x="24" y="34"/>
                  </a:cubicBezTo>
                  <a:cubicBezTo>
                    <a:pt x="24" y="34"/>
                    <a:pt x="27" y="37"/>
                    <a:pt x="27" y="37"/>
                  </a:cubicBezTo>
                  <a:cubicBezTo>
                    <a:pt x="28" y="37"/>
                    <a:pt x="28" y="38"/>
                    <a:pt x="28" y="38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6" y="47"/>
                    <a:pt x="26" y="47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30" y="51"/>
                    <a:pt x="32" y="53"/>
                    <a:pt x="35" y="54"/>
                  </a:cubicBezTo>
                  <a:cubicBezTo>
                    <a:pt x="35" y="55"/>
                    <a:pt x="36" y="55"/>
                    <a:pt x="36" y="55"/>
                  </a:cubicBezTo>
                  <a:cubicBezTo>
                    <a:pt x="36" y="55"/>
                    <a:pt x="37" y="55"/>
                    <a:pt x="38" y="54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3" y="52"/>
                    <a:pt x="44" y="51"/>
                    <a:pt x="44" y="51"/>
                  </a:cubicBezTo>
                  <a:cubicBezTo>
                    <a:pt x="45" y="51"/>
                    <a:pt x="45" y="52"/>
                    <a:pt x="46" y="52"/>
                  </a:cubicBezTo>
                  <a:cubicBezTo>
                    <a:pt x="46" y="52"/>
                    <a:pt x="50" y="54"/>
                    <a:pt x="51" y="55"/>
                  </a:cubicBezTo>
                  <a:cubicBezTo>
                    <a:pt x="51" y="55"/>
                    <a:pt x="52" y="56"/>
                    <a:pt x="52" y="57"/>
                  </a:cubicBezTo>
                  <a:cubicBezTo>
                    <a:pt x="52" y="57"/>
                    <a:pt x="52" y="57"/>
                    <a:pt x="52" y="57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4"/>
                    <a:pt x="52" y="64"/>
                    <a:pt x="53" y="65"/>
                  </a:cubicBezTo>
                  <a:cubicBezTo>
                    <a:pt x="55" y="66"/>
                    <a:pt x="61" y="69"/>
                    <a:pt x="62" y="69"/>
                  </a:cubicBezTo>
                  <a:cubicBezTo>
                    <a:pt x="62" y="69"/>
                    <a:pt x="63" y="69"/>
                    <a:pt x="63" y="69"/>
                  </a:cubicBezTo>
                  <a:cubicBezTo>
                    <a:pt x="63" y="69"/>
                    <a:pt x="64" y="69"/>
                    <a:pt x="65" y="68"/>
                  </a:cubicBezTo>
                  <a:cubicBezTo>
                    <a:pt x="69" y="65"/>
                    <a:pt x="69" y="65"/>
                    <a:pt x="69" y="65"/>
                  </a:cubicBezTo>
                  <a:cubicBezTo>
                    <a:pt x="69" y="64"/>
                    <a:pt x="70" y="63"/>
                    <a:pt x="71" y="63"/>
                  </a:cubicBezTo>
                  <a:cubicBezTo>
                    <a:pt x="72" y="63"/>
                    <a:pt x="77" y="65"/>
                    <a:pt x="77" y="65"/>
                  </a:cubicBezTo>
                  <a:cubicBezTo>
                    <a:pt x="78" y="65"/>
                    <a:pt x="79" y="66"/>
                    <a:pt x="79" y="67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4"/>
                    <a:pt x="82" y="74"/>
                    <a:pt x="83" y="74"/>
                  </a:cubicBezTo>
                  <a:cubicBezTo>
                    <a:pt x="83" y="74"/>
                    <a:pt x="91" y="75"/>
                    <a:pt x="92" y="75"/>
                  </a:cubicBezTo>
                  <a:cubicBezTo>
                    <a:pt x="92" y="75"/>
                    <a:pt x="93" y="75"/>
                    <a:pt x="94" y="74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97" y="70"/>
                    <a:pt x="97" y="69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69"/>
                    <a:pt x="98" y="69"/>
                    <a:pt x="98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8"/>
                    <a:pt x="98" y="68"/>
                    <a:pt x="98" y="68"/>
                  </a:cubicBezTo>
                  <a:cubicBezTo>
                    <a:pt x="98" y="68"/>
                    <a:pt x="98" y="68"/>
                    <a:pt x="98" y="68"/>
                  </a:cubicBezTo>
                  <a:cubicBezTo>
                    <a:pt x="98" y="68"/>
                    <a:pt x="98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100" y="68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100" y="68"/>
                    <a:pt x="105" y="68"/>
                    <a:pt x="105" y="68"/>
                  </a:cubicBezTo>
                  <a:cubicBezTo>
                    <a:pt x="107" y="68"/>
                    <a:pt x="108" y="68"/>
                    <a:pt x="109" y="70"/>
                  </a:cubicBezTo>
                  <a:cubicBezTo>
                    <a:pt x="112" y="74"/>
                    <a:pt x="112" y="74"/>
                    <a:pt x="112" y="74"/>
                  </a:cubicBezTo>
                  <a:cubicBezTo>
                    <a:pt x="112" y="75"/>
                    <a:pt x="113" y="75"/>
                    <a:pt x="114" y="75"/>
                  </a:cubicBezTo>
                  <a:cubicBezTo>
                    <a:pt x="114" y="75"/>
                    <a:pt x="122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4" y="74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5" y="73"/>
                    <a:pt x="125" y="72"/>
                    <a:pt x="125" y="72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26" y="67"/>
                    <a:pt x="127" y="67"/>
                    <a:pt x="127" y="67"/>
                  </a:cubicBezTo>
                  <a:cubicBezTo>
                    <a:pt x="127" y="67"/>
                    <a:pt x="127" y="67"/>
                    <a:pt x="127" y="67"/>
                  </a:cubicBezTo>
                  <a:cubicBezTo>
                    <a:pt x="127" y="67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5"/>
                    <a:pt x="127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9" y="65"/>
                    <a:pt x="134" y="63"/>
                    <a:pt x="134" y="63"/>
                  </a:cubicBezTo>
                  <a:cubicBezTo>
                    <a:pt x="135" y="63"/>
                    <a:pt x="136" y="64"/>
                    <a:pt x="137" y="65"/>
                  </a:cubicBezTo>
                  <a:cubicBezTo>
                    <a:pt x="141" y="68"/>
                    <a:pt x="141" y="68"/>
                    <a:pt x="141" y="68"/>
                  </a:cubicBezTo>
                  <a:cubicBezTo>
                    <a:pt x="141" y="69"/>
                    <a:pt x="142" y="69"/>
                    <a:pt x="143" y="69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4" y="69"/>
                    <a:pt x="144" y="68"/>
                    <a:pt x="145" y="68"/>
                  </a:cubicBezTo>
                  <a:cubicBezTo>
                    <a:pt x="147" y="67"/>
                    <a:pt x="150" y="66"/>
                    <a:pt x="152" y="65"/>
                  </a:cubicBezTo>
                  <a:cubicBezTo>
                    <a:pt x="154" y="64"/>
                    <a:pt x="153" y="63"/>
                    <a:pt x="153" y="62"/>
                  </a:cubicBezTo>
                  <a:cubicBezTo>
                    <a:pt x="154" y="61"/>
                    <a:pt x="154" y="61"/>
                    <a:pt x="154" y="60"/>
                  </a:cubicBezTo>
                  <a:cubicBezTo>
                    <a:pt x="154" y="60"/>
                    <a:pt x="154" y="60"/>
                    <a:pt x="154" y="60"/>
                  </a:cubicBezTo>
                  <a:cubicBezTo>
                    <a:pt x="154" y="56"/>
                    <a:pt x="154" y="56"/>
                    <a:pt x="154" y="56"/>
                  </a:cubicBezTo>
                  <a:cubicBezTo>
                    <a:pt x="154" y="56"/>
                    <a:pt x="154" y="56"/>
                    <a:pt x="154" y="56"/>
                  </a:cubicBezTo>
                  <a:cubicBezTo>
                    <a:pt x="154" y="56"/>
                    <a:pt x="154" y="55"/>
                    <a:pt x="154" y="55"/>
                  </a:cubicBezTo>
                  <a:cubicBezTo>
                    <a:pt x="154" y="55"/>
                    <a:pt x="154" y="55"/>
                    <a:pt x="154" y="55"/>
                  </a:cubicBezTo>
                  <a:cubicBezTo>
                    <a:pt x="155" y="55"/>
                    <a:pt x="155" y="55"/>
                    <a:pt x="155" y="55"/>
                  </a:cubicBezTo>
                  <a:cubicBezTo>
                    <a:pt x="155" y="55"/>
                    <a:pt x="155" y="55"/>
                    <a:pt x="155" y="55"/>
                  </a:cubicBezTo>
                  <a:cubicBezTo>
                    <a:pt x="155" y="55"/>
                    <a:pt x="155" y="54"/>
                    <a:pt x="155" y="54"/>
                  </a:cubicBezTo>
                  <a:cubicBezTo>
                    <a:pt x="155" y="54"/>
                    <a:pt x="159" y="52"/>
                    <a:pt x="160" y="52"/>
                  </a:cubicBezTo>
                  <a:cubicBezTo>
                    <a:pt x="160" y="52"/>
                    <a:pt x="161" y="51"/>
                    <a:pt x="161" y="51"/>
                  </a:cubicBezTo>
                  <a:cubicBezTo>
                    <a:pt x="162" y="51"/>
                    <a:pt x="162" y="52"/>
                    <a:pt x="163" y="52"/>
                  </a:cubicBezTo>
                  <a:cubicBezTo>
                    <a:pt x="168" y="54"/>
                    <a:pt x="168" y="54"/>
                    <a:pt x="168" y="54"/>
                  </a:cubicBezTo>
                  <a:cubicBezTo>
                    <a:pt x="168" y="55"/>
                    <a:pt x="169" y="55"/>
                    <a:pt x="169" y="55"/>
                  </a:cubicBezTo>
                  <a:cubicBezTo>
                    <a:pt x="170" y="55"/>
                    <a:pt x="170" y="55"/>
                    <a:pt x="170" y="54"/>
                  </a:cubicBezTo>
                  <a:cubicBezTo>
                    <a:pt x="173" y="53"/>
                    <a:pt x="175" y="51"/>
                    <a:pt x="178" y="48"/>
                  </a:cubicBezTo>
                  <a:cubicBezTo>
                    <a:pt x="178" y="48"/>
                    <a:pt x="178" y="48"/>
                    <a:pt x="178" y="48"/>
                  </a:cubicBezTo>
                  <a:cubicBezTo>
                    <a:pt x="178" y="48"/>
                    <a:pt x="178" y="48"/>
                    <a:pt x="179" y="48"/>
                  </a:cubicBezTo>
                  <a:cubicBezTo>
                    <a:pt x="179" y="47"/>
                    <a:pt x="180" y="46"/>
                    <a:pt x="179" y="45"/>
                  </a:cubicBezTo>
                  <a:cubicBezTo>
                    <a:pt x="177" y="38"/>
                    <a:pt x="177" y="38"/>
                    <a:pt x="177" y="38"/>
                  </a:cubicBezTo>
                  <a:cubicBezTo>
                    <a:pt x="177" y="38"/>
                    <a:pt x="177" y="38"/>
                    <a:pt x="178" y="38"/>
                  </a:cubicBezTo>
                  <a:cubicBezTo>
                    <a:pt x="178" y="38"/>
                    <a:pt x="178" y="38"/>
                    <a:pt x="178" y="37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81" y="34"/>
                    <a:pt x="182" y="33"/>
                    <a:pt x="183" y="33"/>
                  </a:cubicBezTo>
                  <a:cubicBezTo>
                    <a:pt x="184" y="33"/>
                    <a:pt x="190" y="34"/>
                    <a:pt x="190" y="34"/>
                  </a:cubicBezTo>
                  <a:cubicBezTo>
                    <a:pt x="190" y="34"/>
                    <a:pt x="191" y="34"/>
                    <a:pt x="191" y="34"/>
                  </a:cubicBezTo>
                  <a:cubicBezTo>
                    <a:pt x="191" y="34"/>
                    <a:pt x="192" y="34"/>
                    <a:pt x="192" y="34"/>
                  </a:cubicBezTo>
                  <a:cubicBezTo>
                    <a:pt x="193" y="32"/>
                    <a:pt x="198" y="26"/>
                    <a:pt x="198" y="26"/>
                  </a:cubicBezTo>
                  <a:cubicBezTo>
                    <a:pt x="200" y="22"/>
                    <a:pt x="204" y="15"/>
                    <a:pt x="206" y="12"/>
                  </a:cubicBezTo>
                  <a:lnTo>
                    <a:pt x="20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8775524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3A6A4-4860-4F85-9180-D72C0FCEFD56}" type="datetime1">
              <a:rPr lang="de-DE" smtClean="0"/>
              <a:t>24.06.2021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36B8E5-3A52-4A78-81A8-094081A03A6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00677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A84D80F-1690-417D-BF57-A1A9DFE4D7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4EFB2EBC-3291-446C-908F-4E2F7CBAE3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52668" y="6444188"/>
            <a:ext cx="634789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01.12.2017</a:t>
            </a:r>
          </a:p>
        </p:txBody>
      </p:sp>
      <p:sp>
        <p:nvSpPr>
          <p:cNvPr id="10" name="Fußzeilenplatzhalter 4">
            <a:extLst>
              <a:ext uri="{FF2B5EF4-FFF2-40B4-BE49-F238E27FC236}">
                <a16:creationId xmlns:a16="http://schemas.microsoft.com/office/drawing/2014/main" id="{F3E165E7-2DBA-456E-B92E-39BB5DD57F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2616" y="6444188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Kurzinfo 6/2018</a:t>
            </a:r>
          </a:p>
        </p:txBody>
      </p:sp>
    </p:spTree>
    <p:extLst>
      <p:ext uri="{BB962C8B-B14F-4D97-AF65-F5344CB8AC3E}">
        <p14:creationId xmlns:p14="http://schemas.microsoft.com/office/powerpoint/2010/main" val="31849866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Zwischenfolie">
    <p:bg>
      <p:bgPr>
        <a:gradFill>
          <a:gsLst>
            <a:gs pos="20000">
              <a:schemeClr val="bg2"/>
            </a:gs>
            <a:gs pos="81000">
              <a:srgbClr val="3C701D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710DCF-5D50-4752-9E4F-7D38F4080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D26C05E-213B-4434-A032-7E7750652D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DADADA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BFA451DA-FB72-4B06-92EB-72767C4CC00A}"/>
              </a:ext>
            </a:extLst>
          </p:cNvPr>
          <p:cNvGrpSpPr/>
          <p:nvPr userDrawn="1"/>
        </p:nvGrpSpPr>
        <p:grpSpPr>
          <a:xfrm>
            <a:off x="11408675" y="6072554"/>
            <a:ext cx="527308" cy="525522"/>
            <a:chOff x="1485900" y="944563"/>
            <a:chExt cx="1406526" cy="1401763"/>
          </a:xfrm>
          <a:solidFill>
            <a:schemeClr val="bg1"/>
          </a:solidFill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53E7A61B-5CCB-43C7-878C-AE58045FE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6088" y="1019175"/>
              <a:ext cx="946150" cy="247650"/>
            </a:xfrm>
            <a:custGeom>
              <a:avLst/>
              <a:gdLst>
                <a:gd name="T0" fmla="*/ 76 w 153"/>
                <a:gd name="T1" fmla="*/ 0 h 40"/>
                <a:gd name="T2" fmla="*/ 0 w 153"/>
                <a:gd name="T3" fmla="*/ 35 h 40"/>
                <a:gd name="T4" fmla="*/ 0 w 153"/>
                <a:gd name="T5" fmla="*/ 39 h 40"/>
                <a:gd name="T6" fmla="*/ 4 w 153"/>
                <a:gd name="T7" fmla="*/ 39 h 40"/>
                <a:gd name="T8" fmla="*/ 76 w 153"/>
                <a:gd name="T9" fmla="*/ 6 h 40"/>
                <a:gd name="T10" fmla="*/ 149 w 153"/>
                <a:gd name="T11" fmla="*/ 40 h 40"/>
                <a:gd name="T12" fmla="*/ 153 w 153"/>
                <a:gd name="T13" fmla="*/ 40 h 40"/>
                <a:gd name="T14" fmla="*/ 153 w 153"/>
                <a:gd name="T15" fmla="*/ 36 h 40"/>
                <a:gd name="T16" fmla="*/ 76 w 153"/>
                <a:gd name="T1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40">
                  <a:moveTo>
                    <a:pt x="76" y="0"/>
                  </a:moveTo>
                  <a:cubicBezTo>
                    <a:pt x="45" y="0"/>
                    <a:pt x="18" y="12"/>
                    <a:pt x="0" y="35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21" y="18"/>
                    <a:pt x="46" y="6"/>
                    <a:pt x="76" y="6"/>
                  </a:cubicBezTo>
                  <a:cubicBezTo>
                    <a:pt x="106" y="6"/>
                    <a:pt x="131" y="18"/>
                    <a:pt x="149" y="40"/>
                  </a:cubicBezTo>
                  <a:cubicBezTo>
                    <a:pt x="153" y="40"/>
                    <a:pt x="153" y="40"/>
                    <a:pt x="153" y="40"/>
                  </a:cubicBezTo>
                  <a:cubicBezTo>
                    <a:pt x="153" y="36"/>
                    <a:pt x="153" y="36"/>
                    <a:pt x="153" y="36"/>
                  </a:cubicBezTo>
                  <a:cubicBezTo>
                    <a:pt x="135" y="13"/>
                    <a:pt x="108" y="0"/>
                    <a:pt x="7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D566CB86-A8C7-47DE-9717-6353C25006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9113" y="1100138"/>
              <a:ext cx="800100" cy="173038"/>
            </a:xfrm>
            <a:custGeom>
              <a:avLst/>
              <a:gdLst>
                <a:gd name="T0" fmla="*/ 127 w 129"/>
                <a:gd name="T1" fmla="*/ 26 h 28"/>
                <a:gd name="T2" fmla="*/ 64 w 129"/>
                <a:gd name="T3" fmla="*/ 0 h 28"/>
                <a:gd name="T4" fmla="*/ 1 w 129"/>
                <a:gd name="T5" fmla="*/ 26 h 28"/>
                <a:gd name="T6" fmla="*/ 1 w 129"/>
                <a:gd name="T7" fmla="*/ 26 h 28"/>
                <a:gd name="T8" fmla="*/ 0 w 129"/>
                <a:gd name="T9" fmla="*/ 28 h 28"/>
                <a:gd name="T10" fmla="*/ 8 w 129"/>
                <a:gd name="T11" fmla="*/ 28 h 28"/>
                <a:gd name="T12" fmla="*/ 64 w 129"/>
                <a:gd name="T13" fmla="*/ 6 h 28"/>
                <a:gd name="T14" fmla="*/ 121 w 129"/>
                <a:gd name="T15" fmla="*/ 28 h 28"/>
                <a:gd name="T16" fmla="*/ 129 w 129"/>
                <a:gd name="T17" fmla="*/ 28 h 28"/>
                <a:gd name="T18" fmla="*/ 127 w 129"/>
                <a:gd name="T19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9" h="28">
                  <a:moveTo>
                    <a:pt x="127" y="26"/>
                  </a:moveTo>
                  <a:cubicBezTo>
                    <a:pt x="111" y="10"/>
                    <a:pt x="89" y="0"/>
                    <a:pt x="64" y="0"/>
                  </a:cubicBezTo>
                  <a:cubicBezTo>
                    <a:pt x="40" y="0"/>
                    <a:pt x="17" y="10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7"/>
                    <a:pt x="0" y="27"/>
                    <a:pt x="0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23" y="14"/>
                    <a:pt x="43" y="6"/>
                    <a:pt x="64" y="6"/>
                  </a:cubicBezTo>
                  <a:cubicBezTo>
                    <a:pt x="86" y="6"/>
                    <a:pt x="106" y="14"/>
                    <a:pt x="121" y="28"/>
                  </a:cubicBezTo>
                  <a:cubicBezTo>
                    <a:pt x="129" y="28"/>
                    <a:pt x="129" y="28"/>
                    <a:pt x="129" y="28"/>
                  </a:cubicBezTo>
                  <a:cubicBezTo>
                    <a:pt x="128" y="27"/>
                    <a:pt x="128" y="27"/>
                    <a:pt x="12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F0B5766C-0AEA-4E5D-96D4-3C0904623F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0688" y="944563"/>
              <a:ext cx="984250" cy="247650"/>
            </a:xfrm>
            <a:custGeom>
              <a:avLst/>
              <a:gdLst>
                <a:gd name="T0" fmla="*/ 159 w 159"/>
                <a:gd name="T1" fmla="*/ 32 h 40"/>
                <a:gd name="T2" fmla="*/ 79 w 159"/>
                <a:gd name="T3" fmla="*/ 0 h 40"/>
                <a:gd name="T4" fmla="*/ 0 w 159"/>
                <a:gd name="T5" fmla="*/ 32 h 40"/>
                <a:gd name="T6" fmla="*/ 1 w 159"/>
                <a:gd name="T7" fmla="*/ 39 h 40"/>
                <a:gd name="T8" fmla="*/ 79 w 159"/>
                <a:gd name="T9" fmla="*/ 5 h 40"/>
                <a:gd name="T10" fmla="*/ 159 w 159"/>
                <a:gd name="T11" fmla="*/ 40 h 40"/>
                <a:gd name="T12" fmla="*/ 159 w 159"/>
                <a:gd name="T13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40">
                  <a:moveTo>
                    <a:pt x="159" y="32"/>
                  </a:moveTo>
                  <a:cubicBezTo>
                    <a:pt x="139" y="12"/>
                    <a:pt x="111" y="0"/>
                    <a:pt x="79" y="0"/>
                  </a:cubicBezTo>
                  <a:cubicBezTo>
                    <a:pt x="48" y="0"/>
                    <a:pt x="20" y="12"/>
                    <a:pt x="0" y="32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20" y="18"/>
                    <a:pt x="48" y="5"/>
                    <a:pt x="79" y="5"/>
                  </a:cubicBezTo>
                  <a:cubicBezTo>
                    <a:pt x="111" y="5"/>
                    <a:pt x="139" y="18"/>
                    <a:pt x="159" y="40"/>
                  </a:cubicBezTo>
                  <a:lnTo>
                    <a:pt x="159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BD8E6964-646D-40AB-86E8-5545AF298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263" y="1185863"/>
              <a:ext cx="85725" cy="198438"/>
            </a:xfrm>
            <a:custGeom>
              <a:avLst/>
              <a:gdLst>
                <a:gd name="T0" fmla="*/ 0 w 14"/>
                <a:gd name="T1" fmla="*/ 17 h 32"/>
                <a:gd name="T2" fmla="*/ 6 w 14"/>
                <a:gd name="T3" fmla="*/ 32 h 32"/>
                <a:gd name="T4" fmla="*/ 13 w 14"/>
                <a:gd name="T5" fmla="*/ 19 h 32"/>
                <a:gd name="T6" fmla="*/ 12 w 14"/>
                <a:gd name="T7" fmla="*/ 7 h 32"/>
                <a:gd name="T8" fmla="*/ 12 w 14"/>
                <a:gd name="T9" fmla="*/ 7 h 32"/>
                <a:gd name="T10" fmla="*/ 12 w 14"/>
                <a:gd name="T11" fmla="*/ 7 h 32"/>
                <a:gd name="T12" fmla="*/ 12 w 14"/>
                <a:gd name="T13" fmla="*/ 5 h 32"/>
                <a:gd name="T14" fmla="*/ 10 w 14"/>
                <a:gd name="T15" fmla="*/ 0 h 32"/>
                <a:gd name="T16" fmla="*/ 0 w 14"/>
                <a:gd name="T17" fmla="*/ 14 h 32"/>
                <a:gd name="T18" fmla="*/ 0 w 14"/>
                <a:gd name="T19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32">
                  <a:moveTo>
                    <a:pt x="0" y="17"/>
                  </a:moveTo>
                  <a:cubicBezTo>
                    <a:pt x="0" y="23"/>
                    <a:pt x="6" y="32"/>
                    <a:pt x="6" y="32"/>
                  </a:cubicBezTo>
                  <a:cubicBezTo>
                    <a:pt x="8" y="27"/>
                    <a:pt x="9" y="24"/>
                    <a:pt x="13" y="19"/>
                  </a:cubicBezTo>
                  <a:cubicBezTo>
                    <a:pt x="14" y="16"/>
                    <a:pt x="13" y="11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6"/>
                    <a:pt x="12" y="5"/>
                  </a:cubicBezTo>
                  <a:cubicBezTo>
                    <a:pt x="11" y="2"/>
                    <a:pt x="10" y="0"/>
                    <a:pt x="10" y="0"/>
                  </a:cubicBezTo>
                  <a:cubicBezTo>
                    <a:pt x="6" y="4"/>
                    <a:pt x="3" y="8"/>
                    <a:pt x="0" y="14"/>
                  </a:cubicBezTo>
                  <a:cubicBezTo>
                    <a:pt x="0" y="15"/>
                    <a:pt x="0" y="16"/>
                    <a:pt x="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9549AA9C-896B-42B9-B0FD-825ED6CFB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900" y="1471613"/>
              <a:ext cx="87313" cy="192088"/>
            </a:xfrm>
            <a:custGeom>
              <a:avLst/>
              <a:gdLst>
                <a:gd name="T0" fmla="*/ 0 w 14"/>
                <a:gd name="T1" fmla="*/ 18 h 31"/>
                <a:gd name="T2" fmla="*/ 0 w 14"/>
                <a:gd name="T3" fmla="*/ 19 h 31"/>
                <a:gd name="T4" fmla="*/ 13 w 14"/>
                <a:gd name="T5" fmla="*/ 31 h 31"/>
                <a:gd name="T6" fmla="*/ 13 w 14"/>
                <a:gd name="T7" fmla="*/ 29 h 31"/>
                <a:gd name="T8" fmla="*/ 13 w 14"/>
                <a:gd name="T9" fmla="*/ 28 h 31"/>
                <a:gd name="T10" fmla="*/ 13 w 14"/>
                <a:gd name="T11" fmla="*/ 27 h 31"/>
                <a:gd name="T12" fmla="*/ 14 w 14"/>
                <a:gd name="T13" fmla="*/ 16 h 31"/>
                <a:gd name="T14" fmla="*/ 3 w 14"/>
                <a:gd name="T15" fmla="*/ 0 h 31"/>
                <a:gd name="T16" fmla="*/ 0 w 14"/>
                <a:gd name="T17" fmla="*/ 17 h 31"/>
                <a:gd name="T18" fmla="*/ 0 w 14"/>
                <a:gd name="T19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31">
                  <a:moveTo>
                    <a:pt x="0" y="18"/>
                  </a:moveTo>
                  <a:cubicBezTo>
                    <a:pt x="0" y="18"/>
                    <a:pt x="0" y="19"/>
                    <a:pt x="0" y="19"/>
                  </a:cubicBezTo>
                  <a:cubicBezTo>
                    <a:pt x="0" y="24"/>
                    <a:pt x="13" y="31"/>
                    <a:pt x="13" y="31"/>
                  </a:cubicBezTo>
                  <a:cubicBezTo>
                    <a:pt x="13" y="30"/>
                    <a:pt x="13" y="29"/>
                    <a:pt x="13" y="29"/>
                  </a:cubicBezTo>
                  <a:cubicBezTo>
                    <a:pt x="13" y="29"/>
                    <a:pt x="13" y="28"/>
                    <a:pt x="13" y="28"/>
                  </a:cubicBezTo>
                  <a:cubicBezTo>
                    <a:pt x="13" y="28"/>
                    <a:pt x="13" y="27"/>
                    <a:pt x="13" y="27"/>
                  </a:cubicBezTo>
                  <a:cubicBezTo>
                    <a:pt x="13" y="23"/>
                    <a:pt x="14" y="21"/>
                    <a:pt x="14" y="16"/>
                  </a:cubicBezTo>
                  <a:cubicBezTo>
                    <a:pt x="12" y="10"/>
                    <a:pt x="3" y="0"/>
                    <a:pt x="3" y="0"/>
                  </a:cubicBezTo>
                  <a:cubicBezTo>
                    <a:pt x="2" y="6"/>
                    <a:pt x="0" y="10"/>
                    <a:pt x="0" y="17"/>
                  </a:cubicBezTo>
                  <a:cubicBezTo>
                    <a:pt x="0" y="18"/>
                    <a:pt x="0" y="18"/>
                    <a:pt x="0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46EC7B76-2919-4863-BD0E-C3496DF78C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4950" y="1819275"/>
              <a:ext cx="136525" cy="130175"/>
            </a:xfrm>
            <a:custGeom>
              <a:avLst/>
              <a:gdLst>
                <a:gd name="T0" fmla="*/ 16 w 22"/>
                <a:gd name="T1" fmla="*/ 8 h 21"/>
                <a:gd name="T2" fmla="*/ 0 w 22"/>
                <a:gd name="T3" fmla="*/ 0 h 21"/>
                <a:gd name="T4" fmla="*/ 1 w 22"/>
                <a:gd name="T5" fmla="*/ 1 h 21"/>
                <a:gd name="T6" fmla="*/ 1 w 22"/>
                <a:gd name="T7" fmla="*/ 1 h 21"/>
                <a:gd name="T8" fmla="*/ 5 w 22"/>
                <a:gd name="T9" fmla="*/ 16 h 21"/>
                <a:gd name="T10" fmla="*/ 22 w 22"/>
                <a:gd name="T11" fmla="*/ 21 h 21"/>
                <a:gd name="T12" fmla="*/ 21 w 22"/>
                <a:gd name="T13" fmla="*/ 18 h 21"/>
                <a:gd name="T14" fmla="*/ 16 w 22"/>
                <a:gd name="T15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6" y="8"/>
                  </a:moveTo>
                  <a:cubicBezTo>
                    <a:pt x="14" y="3"/>
                    <a:pt x="0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7"/>
                    <a:pt x="2" y="10"/>
                    <a:pt x="5" y="16"/>
                  </a:cubicBezTo>
                  <a:cubicBezTo>
                    <a:pt x="7" y="20"/>
                    <a:pt x="22" y="21"/>
                    <a:pt x="22" y="21"/>
                  </a:cubicBezTo>
                  <a:cubicBezTo>
                    <a:pt x="22" y="20"/>
                    <a:pt x="21" y="19"/>
                    <a:pt x="21" y="18"/>
                  </a:cubicBezTo>
                  <a:cubicBezTo>
                    <a:pt x="19" y="15"/>
                    <a:pt x="18" y="12"/>
                    <a:pt x="1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05028EEC-CDF2-4356-9377-54DFD07905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5125" y="1770063"/>
              <a:ext cx="80963" cy="166688"/>
            </a:xfrm>
            <a:custGeom>
              <a:avLst/>
              <a:gdLst>
                <a:gd name="T0" fmla="*/ 0 w 13"/>
                <a:gd name="T1" fmla="*/ 13 h 27"/>
                <a:gd name="T2" fmla="*/ 0 w 13"/>
                <a:gd name="T3" fmla="*/ 13 h 27"/>
                <a:gd name="T4" fmla="*/ 0 w 13"/>
                <a:gd name="T5" fmla="*/ 13 h 27"/>
                <a:gd name="T6" fmla="*/ 0 w 13"/>
                <a:gd name="T7" fmla="*/ 13 h 27"/>
                <a:gd name="T8" fmla="*/ 0 w 13"/>
                <a:gd name="T9" fmla="*/ 13 h 27"/>
                <a:gd name="T10" fmla="*/ 0 w 13"/>
                <a:gd name="T11" fmla="*/ 13 h 27"/>
                <a:gd name="T12" fmla="*/ 6 w 13"/>
                <a:gd name="T13" fmla="*/ 27 h 27"/>
                <a:gd name="T14" fmla="*/ 13 w 13"/>
                <a:gd name="T15" fmla="*/ 11 h 27"/>
                <a:gd name="T16" fmla="*/ 13 w 13"/>
                <a:gd name="T17" fmla="*/ 10 h 27"/>
                <a:gd name="T18" fmla="*/ 10 w 13"/>
                <a:gd name="T19" fmla="*/ 0 h 27"/>
                <a:gd name="T20" fmla="*/ 0 w 13"/>
                <a:gd name="T2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27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20"/>
                    <a:pt x="4" y="23"/>
                    <a:pt x="6" y="27"/>
                  </a:cubicBezTo>
                  <a:cubicBezTo>
                    <a:pt x="6" y="27"/>
                    <a:pt x="12" y="18"/>
                    <a:pt x="13" y="11"/>
                  </a:cubicBezTo>
                  <a:cubicBezTo>
                    <a:pt x="13" y="11"/>
                    <a:pt x="13" y="10"/>
                    <a:pt x="13" y="10"/>
                  </a:cubicBezTo>
                  <a:cubicBezTo>
                    <a:pt x="13" y="5"/>
                    <a:pt x="11" y="4"/>
                    <a:pt x="10" y="0"/>
                  </a:cubicBezTo>
                  <a:cubicBezTo>
                    <a:pt x="10" y="0"/>
                    <a:pt x="0" y="7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12">
              <a:extLst>
                <a:ext uri="{FF2B5EF4-FFF2-40B4-BE49-F238E27FC236}">
                  <a16:creationId xmlns:a16="http://schemas.microsoft.com/office/drawing/2014/main" id="{CC7F15D4-DC52-4080-B54A-311B6E40A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8613" y="1646238"/>
              <a:ext cx="85725" cy="160338"/>
            </a:xfrm>
            <a:custGeom>
              <a:avLst/>
              <a:gdLst>
                <a:gd name="T0" fmla="*/ 14 w 14"/>
                <a:gd name="T1" fmla="*/ 1 h 26"/>
                <a:gd name="T2" fmla="*/ 14 w 14"/>
                <a:gd name="T3" fmla="*/ 0 h 26"/>
                <a:gd name="T4" fmla="*/ 13 w 14"/>
                <a:gd name="T5" fmla="*/ 0 h 26"/>
                <a:gd name="T6" fmla="*/ 0 w 14"/>
                <a:gd name="T7" fmla="*/ 11 h 26"/>
                <a:gd name="T8" fmla="*/ 0 w 14"/>
                <a:gd name="T9" fmla="*/ 13 h 26"/>
                <a:gd name="T10" fmla="*/ 4 w 14"/>
                <a:gd name="T11" fmla="*/ 26 h 26"/>
                <a:gd name="T12" fmla="*/ 14 w 14"/>
                <a:gd name="T13" fmla="*/ 11 h 26"/>
                <a:gd name="T14" fmla="*/ 14 w 14"/>
                <a:gd name="T15" fmla="*/ 11 h 26"/>
                <a:gd name="T16" fmla="*/ 14 w 14"/>
                <a:gd name="T17" fmla="*/ 11 h 26"/>
                <a:gd name="T18" fmla="*/ 14 w 14"/>
                <a:gd name="T19" fmla="*/ 11 h 26"/>
                <a:gd name="T20" fmla="*/ 14 w 14"/>
                <a:gd name="T21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26">
                  <a:moveTo>
                    <a:pt x="14" y="1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1" y="1"/>
                    <a:pt x="1" y="6"/>
                    <a:pt x="0" y="11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8"/>
                    <a:pt x="2" y="21"/>
                    <a:pt x="4" y="26"/>
                  </a:cubicBezTo>
                  <a:cubicBezTo>
                    <a:pt x="4" y="26"/>
                    <a:pt x="14" y="16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7"/>
                    <a:pt x="14" y="4"/>
                    <a:pt x="1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13">
              <a:extLst>
                <a:ext uri="{FF2B5EF4-FFF2-40B4-BE49-F238E27FC236}">
                  <a16:creationId xmlns:a16="http://schemas.microsoft.com/office/drawing/2014/main" id="{ADB9CF80-C603-4A0E-9FEF-25B9F082E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263" y="1533525"/>
              <a:ext cx="104775" cy="130175"/>
            </a:xfrm>
            <a:custGeom>
              <a:avLst/>
              <a:gdLst>
                <a:gd name="T0" fmla="*/ 17 w 17"/>
                <a:gd name="T1" fmla="*/ 0 h 21"/>
                <a:gd name="T2" fmla="*/ 2 w 17"/>
                <a:gd name="T3" fmla="*/ 6 h 21"/>
                <a:gd name="T4" fmla="*/ 1 w 17"/>
                <a:gd name="T5" fmla="*/ 17 h 21"/>
                <a:gd name="T6" fmla="*/ 1 w 17"/>
                <a:gd name="T7" fmla="*/ 18 h 21"/>
                <a:gd name="T8" fmla="*/ 1 w 17"/>
                <a:gd name="T9" fmla="*/ 19 h 21"/>
                <a:gd name="T10" fmla="*/ 1 w 17"/>
                <a:gd name="T11" fmla="*/ 21 h 21"/>
                <a:gd name="T12" fmla="*/ 15 w 17"/>
                <a:gd name="T13" fmla="*/ 10 h 21"/>
                <a:gd name="T14" fmla="*/ 16 w 17"/>
                <a:gd name="T15" fmla="*/ 6 h 21"/>
                <a:gd name="T16" fmla="*/ 16 w 17"/>
                <a:gd name="T17" fmla="*/ 6 h 21"/>
                <a:gd name="T18" fmla="*/ 16 w 17"/>
                <a:gd name="T19" fmla="*/ 6 h 21"/>
                <a:gd name="T20" fmla="*/ 17 w 17"/>
                <a:gd name="T2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21">
                  <a:moveTo>
                    <a:pt x="17" y="0"/>
                  </a:moveTo>
                  <a:cubicBezTo>
                    <a:pt x="17" y="0"/>
                    <a:pt x="4" y="2"/>
                    <a:pt x="2" y="6"/>
                  </a:cubicBezTo>
                  <a:cubicBezTo>
                    <a:pt x="0" y="10"/>
                    <a:pt x="1" y="13"/>
                    <a:pt x="1" y="17"/>
                  </a:cubicBezTo>
                  <a:cubicBezTo>
                    <a:pt x="1" y="17"/>
                    <a:pt x="1" y="19"/>
                    <a:pt x="1" y="18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20"/>
                    <a:pt x="1" y="20"/>
                    <a:pt x="1" y="21"/>
                  </a:cubicBezTo>
                  <a:cubicBezTo>
                    <a:pt x="1" y="21"/>
                    <a:pt x="13" y="14"/>
                    <a:pt x="15" y="10"/>
                  </a:cubicBezTo>
                  <a:cubicBezTo>
                    <a:pt x="16" y="8"/>
                    <a:pt x="16" y="7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3"/>
                    <a:pt x="16" y="2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14">
              <a:extLst>
                <a:ext uri="{FF2B5EF4-FFF2-40B4-BE49-F238E27FC236}">
                  <a16:creationId xmlns:a16="http://schemas.microsoft.com/office/drawing/2014/main" id="{D8783071-8621-48B3-9C2D-B97D7E9176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0525" y="1309688"/>
              <a:ext cx="141288" cy="87313"/>
            </a:xfrm>
            <a:custGeom>
              <a:avLst/>
              <a:gdLst>
                <a:gd name="T0" fmla="*/ 22 w 23"/>
                <a:gd name="T1" fmla="*/ 1 h 14"/>
                <a:gd name="T2" fmla="*/ 6 w 23"/>
                <a:gd name="T3" fmla="*/ 2 h 14"/>
                <a:gd name="T4" fmla="*/ 1 w 23"/>
                <a:gd name="T5" fmla="*/ 11 h 14"/>
                <a:gd name="T6" fmla="*/ 0 w 23"/>
                <a:gd name="T7" fmla="*/ 14 h 14"/>
                <a:gd name="T8" fmla="*/ 16 w 23"/>
                <a:gd name="T9" fmla="*/ 11 h 14"/>
                <a:gd name="T10" fmla="*/ 23 w 23"/>
                <a:gd name="T11" fmla="*/ 1 h 14"/>
                <a:gd name="T12" fmla="*/ 22 w 23"/>
                <a:gd name="T1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4">
                  <a:moveTo>
                    <a:pt x="22" y="1"/>
                  </a:moveTo>
                  <a:cubicBezTo>
                    <a:pt x="18" y="1"/>
                    <a:pt x="8" y="0"/>
                    <a:pt x="6" y="2"/>
                  </a:cubicBezTo>
                  <a:cubicBezTo>
                    <a:pt x="3" y="6"/>
                    <a:pt x="1" y="11"/>
                    <a:pt x="1" y="11"/>
                  </a:cubicBezTo>
                  <a:cubicBezTo>
                    <a:pt x="0" y="12"/>
                    <a:pt x="0" y="13"/>
                    <a:pt x="0" y="14"/>
                  </a:cubicBezTo>
                  <a:cubicBezTo>
                    <a:pt x="0" y="14"/>
                    <a:pt x="13" y="14"/>
                    <a:pt x="16" y="11"/>
                  </a:cubicBezTo>
                  <a:cubicBezTo>
                    <a:pt x="20" y="7"/>
                    <a:pt x="21" y="4"/>
                    <a:pt x="23" y="1"/>
                  </a:cubicBezTo>
                  <a:cubicBezTo>
                    <a:pt x="23" y="1"/>
                    <a:pt x="23" y="1"/>
                    <a:pt x="2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15">
              <a:extLst>
                <a:ext uri="{FF2B5EF4-FFF2-40B4-BE49-F238E27FC236}">
                  <a16:creationId xmlns:a16="http://schemas.microsoft.com/office/drawing/2014/main" id="{4F3A1B75-FB60-4B95-988C-A24C722CDD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725" y="1416050"/>
              <a:ext cx="123825" cy="104775"/>
            </a:xfrm>
            <a:custGeom>
              <a:avLst/>
              <a:gdLst>
                <a:gd name="T0" fmla="*/ 20 w 20"/>
                <a:gd name="T1" fmla="*/ 1 h 17"/>
                <a:gd name="T2" fmla="*/ 5 w 20"/>
                <a:gd name="T3" fmla="*/ 3 h 17"/>
                <a:gd name="T4" fmla="*/ 1 w 20"/>
                <a:gd name="T5" fmla="*/ 15 h 17"/>
                <a:gd name="T6" fmla="*/ 0 w 20"/>
                <a:gd name="T7" fmla="*/ 17 h 17"/>
                <a:gd name="T8" fmla="*/ 16 w 20"/>
                <a:gd name="T9" fmla="*/ 10 h 17"/>
                <a:gd name="T10" fmla="*/ 20 w 20"/>
                <a:gd name="T11" fmla="*/ 2 h 17"/>
                <a:gd name="T12" fmla="*/ 20 w 20"/>
                <a:gd name="T13" fmla="*/ 2 h 17"/>
                <a:gd name="T14" fmla="*/ 20 w 20"/>
                <a:gd name="T15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7">
                  <a:moveTo>
                    <a:pt x="20" y="1"/>
                  </a:moveTo>
                  <a:cubicBezTo>
                    <a:pt x="20" y="1"/>
                    <a:pt x="8" y="0"/>
                    <a:pt x="5" y="3"/>
                  </a:cubicBezTo>
                  <a:cubicBezTo>
                    <a:pt x="2" y="7"/>
                    <a:pt x="2" y="11"/>
                    <a:pt x="1" y="15"/>
                  </a:cubicBezTo>
                  <a:cubicBezTo>
                    <a:pt x="1" y="16"/>
                    <a:pt x="1" y="17"/>
                    <a:pt x="0" y="17"/>
                  </a:cubicBezTo>
                  <a:cubicBezTo>
                    <a:pt x="0" y="17"/>
                    <a:pt x="13" y="15"/>
                    <a:pt x="16" y="10"/>
                  </a:cubicBezTo>
                  <a:cubicBezTo>
                    <a:pt x="18" y="7"/>
                    <a:pt x="19" y="5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20" y="1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16">
              <a:extLst>
                <a:ext uri="{FF2B5EF4-FFF2-40B4-BE49-F238E27FC236}">
                  <a16:creationId xmlns:a16="http://schemas.microsoft.com/office/drawing/2014/main" id="{9FB381D7-624F-4524-9413-D48C910787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650" y="1322388"/>
              <a:ext cx="98425" cy="192088"/>
            </a:xfrm>
            <a:custGeom>
              <a:avLst/>
              <a:gdLst>
                <a:gd name="T0" fmla="*/ 10 w 16"/>
                <a:gd name="T1" fmla="*/ 31 h 31"/>
                <a:gd name="T2" fmla="*/ 11 w 16"/>
                <a:gd name="T3" fmla="*/ 29 h 31"/>
                <a:gd name="T4" fmla="*/ 11 w 16"/>
                <a:gd name="T5" fmla="*/ 29 h 31"/>
                <a:gd name="T6" fmla="*/ 14 w 16"/>
                <a:gd name="T7" fmla="*/ 19 h 31"/>
                <a:gd name="T8" fmla="*/ 8 w 16"/>
                <a:gd name="T9" fmla="*/ 0 h 31"/>
                <a:gd name="T10" fmla="*/ 1 w 16"/>
                <a:gd name="T11" fmla="*/ 16 h 31"/>
                <a:gd name="T12" fmla="*/ 1 w 16"/>
                <a:gd name="T13" fmla="*/ 16 h 31"/>
                <a:gd name="T14" fmla="*/ 1 w 16"/>
                <a:gd name="T15" fmla="*/ 16 h 31"/>
                <a:gd name="T16" fmla="*/ 10 w 16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31">
                  <a:moveTo>
                    <a:pt x="10" y="31"/>
                  </a:moveTo>
                  <a:cubicBezTo>
                    <a:pt x="11" y="30"/>
                    <a:pt x="11" y="30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2" y="26"/>
                    <a:pt x="13" y="23"/>
                    <a:pt x="14" y="19"/>
                  </a:cubicBezTo>
                  <a:cubicBezTo>
                    <a:pt x="16" y="12"/>
                    <a:pt x="8" y="0"/>
                    <a:pt x="8" y="0"/>
                  </a:cubicBezTo>
                  <a:cubicBezTo>
                    <a:pt x="5" y="6"/>
                    <a:pt x="2" y="8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0" y="23"/>
                    <a:pt x="10" y="31"/>
                    <a:pt x="10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17">
              <a:extLst>
                <a:ext uri="{FF2B5EF4-FFF2-40B4-BE49-F238E27FC236}">
                  <a16:creationId xmlns:a16="http://schemas.microsoft.com/office/drawing/2014/main" id="{FD16C291-487B-4BCE-8574-2E8E275DD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900" y="1646238"/>
              <a:ext cx="100013" cy="166688"/>
            </a:xfrm>
            <a:custGeom>
              <a:avLst/>
              <a:gdLst>
                <a:gd name="T0" fmla="*/ 16 w 16"/>
                <a:gd name="T1" fmla="*/ 24 h 27"/>
                <a:gd name="T2" fmla="*/ 14 w 16"/>
                <a:gd name="T3" fmla="*/ 12 h 27"/>
                <a:gd name="T4" fmla="*/ 0 w 16"/>
                <a:gd name="T5" fmla="*/ 0 h 27"/>
                <a:gd name="T6" fmla="*/ 0 w 16"/>
                <a:gd name="T7" fmla="*/ 0 h 27"/>
                <a:gd name="T8" fmla="*/ 0 w 16"/>
                <a:gd name="T9" fmla="*/ 1 h 27"/>
                <a:gd name="T10" fmla="*/ 0 w 16"/>
                <a:gd name="T11" fmla="*/ 8 h 27"/>
                <a:gd name="T12" fmla="*/ 0 w 16"/>
                <a:gd name="T13" fmla="*/ 8 h 27"/>
                <a:gd name="T14" fmla="*/ 1 w 16"/>
                <a:gd name="T15" fmla="*/ 19 h 27"/>
                <a:gd name="T16" fmla="*/ 16 w 16"/>
                <a:gd name="T17" fmla="*/ 27 h 27"/>
                <a:gd name="T18" fmla="*/ 16 w 16"/>
                <a:gd name="T19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27">
                  <a:moveTo>
                    <a:pt x="16" y="24"/>
                  </a:moveTo>
                  <a:cubicBezTo>
                    <a:pt x="15" y="20"/>
                    <a:pt x="14" y="17"/>
                    <a:pt x="14" y="12"/>
                  </a:cubicBezTo>
                  <a:cubicBezTo>
                    <a:pt x="13" y="7"/>
                    <a:pt x="2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3"/>
                    <a:pt x="0" y="6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2"/>
                    <a:pt x="0" y="15"/>
                    <a:pt x="1" y="19"/>
                  </a:cubicBezTo>
                  <a:cubicBezTo>
                    <a:pt x="2" y="22"/>
                    <a:pt x="7" y="25"/>
                    <a:pt x="16" y="27"/>
                  </a:cubicBezTo>
                  <a:cubicBezTo>
                    <a:pt x="16" y="26"/>
                    <a:pt x="16" y="25"/>
                    <a:pt x="1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18">
              <a:extLst>
                <a:ext uri="{FF2B5EF4-FFF2-40B4-BE49-F238E27FC236}">
                  <a16:creationId xmlns:a16="http://schemas.microsoft.com/office/drawing/2014/main" id="{E1BF60F7-2F2A-47B9-85FE-11F279F0F9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2250" y="1322388"/>
              <a:ext cx="98425" cy="192088"/>
            </a:xfrm>
            <a:custGeom>
              <a:avLst/>
              <a:gdLst>
                <a:gd name="T0" fmla="*/ 1 w 16"/>
                <a:gd name="T1" fmla="*/ 19 h 31"/>
                <a:gd name="T2" fmla="*/ 4 w 16"/>
                <a:gd name="T3" fmla="*/ 29 h 31"/>
                <a:gd name="T4" fmla="*/ 4 w 16"/>
                <a:gd name="T5" fmla="*/ 29 h 31"/>
                <a:gd name="T6" fmla="*/ 5 w 16"/>
                <a:gd name="T7" fmla="*/ 31 h 31"/>
                <a:gd name="T8" fmla="*/ 15 w 16"/>
                <a:gd name="T9" fmla="*/ 16 h 31"/>
                <a:gd name="T10" fmla="*/ 15 w 16"/>
                <a:gd name="T11" fmla="*/ 16 h 31"/>
                <a:gd name="T12" fmla="*/ 15 w 16"/>
                <a:gd name="T13" fmla="*/ 16 h 31"/>
                <a:gd name="T14" fmla="*/ 8 w 16"/>
                <a:gd name="T15" fmla="*/ 0 h 31"/>
                <a:gd name="T16" fmla="*/ 1 w 16"/>
                <a:gd name="T17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31">
                  <a:moveTo>
                    <a:pt x="1" y="19"/>
                  </a:moveTo>
                  <a:cubicBezTo>
                    <a:pt x="3" y="23"/>
                    <a:pt x="4" y="26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5" y="30"/>
                    <a:pt x="5" y="31"/>
                  </a:cubicBezTo>
                  <a:cubicBezTo>
                    <a:pt x="5" y="31"/>
                    <a:pt x="16" y="23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3" y="8"/>
                    <a:pt x="11" y="6"/>
                    <a:pt x="8" y="0"/>
                  </a:cubicBezTo>
                  <a:cubicBezTo>
                    <a:pt x="8" y="0"/>
                    <a:pt x="0" y="12"/>
                    <a:pt x="1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19">
              <a:extLst>
                <a:ext uri="{FF2B5EF4-FFF2-40B4-BE49-F238E27FC236}">
                  <a16:creationId xmlns:a16="http://schemas.microsoft.com/office/drawing/2014/main" id="{AAE4661C-3F37-466F-A76B-255DD27BBA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8763" y="1471613"/>
              <a:ext cx="87313" cy="192088"/>
            </a:xfrm>
            <a:custGeom>
              <a:avLst/>
              <a:gdLst>
                <a:gd name="T0" fmla="*/ 1 w 14"/>
                <a:gd name="T1" fmla="*/ 27 h 31"/>
                <a:gd name="T2" fmla="*/ 1 w 14"/>
                <a:gd name="T3" fmla="*/ 28 h 31"/>
                <a:gd name="T4" fmla="*/ 1 w 14"/>
                <a:gd name="T5" fmla="*/ 29 h 31"/>
                <a:gd name="T6" fmla="*/ 1 w 14"/>
                <a:gd name="T7" fmla="*/ 31 h 31"/>
                <a:gd name="T8" fmla="*/ 14 w 14"/>
                <a:gd name="T9" fmla="*/ 19 h 31"/>
                <a:gd name="T10" fmla="*/ 14 w 14"/>
                <a:gd name="T11" fmla="*/ 18 h 31"/>
                <a:gd name="T12" fmla="*/ 14 w 14"/>
                <a:gd name="T13" fmla="*/ 17 h 31"/>
                <a:gd name="T14" fmla="*/ 11 w 14"/>
                <a:gd name="T15" fmla="*/ 0 h 31"/>
                <a:gd name="T16" fmla="*/ 1 w 14"/>
                <a:gd name="T17" fmla="*/ 16 h 31"/>
                <a:gd name="T18" fmla="*/ 1 w 14"/>
                <a:gd name="T19" fmla="*/ 2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31">
                  <a:moveTo>
                    <a:pt x="1" y="27"/>
                  </a:moveTo>
                  <a:cubicBezTo>
                    <a:pt x="1" y="27"/>
                    <a:pt x="1" y="28"/>
                    <a:pt x="1" y="28"/>
                  </a:cubicBezTo>
                  <a:cubicBezTo>
                    <a:pt x="1" y="28"/>
                    <a:pt x="1" y="29"/>
                    <a:pt x="1" y="29"/>
                  </a:cubicBezTo>
                  <a:cubicBezTo>
                    <a:pt x="1" y="29"/>
                    <a:pt x="1" y="30"/>
                    <a:pt x="1" y="31"/>
                  </a:cubicBezTo>
                  <a:cubicBezTo>
                    <a:pt x="1" y="31"/>
                    <a:pt x="14" y="24"/>
                    <a:pt x="14" y="19"/>
                  </a:cubicBezTo>
                  <a:cubicBezTo>
                    <a:pt x="14" y="19"/>
                    <a:pt x="14" y="18"/>
                    <a:pt x="14" y="18"/>
                  </a:cubicBezTo>
                  <a:cubicBezTo>
                    <a:pt x="14" y="18"/>
                    <a:pt x="14" y="18"/>
                    <a:pt x="14" y="17"/>
                  </a:cubicBezTo>
                  <a:cubicBezTo>
                    <a:pt x="14" y="10"/>
                    <a:pt x="13" y="6"/>
                    <a:pt x="11" y="0"/>
                  </a:cubicBezTo>
                  <a:cubicBezTo>
                    <a:pt x="11" y="0"/>
                    <a:pt x="2" y="10"/>
                    <a:pt x="1" y="16"/>
                  </a:cubicBezTo>
                  <a:cubicBezTo>
                    <a:pt x="0" y="21"/>
                    <a:pt x="1" y="23"/>
                    <a:pt x="1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20">
              <a:extLst>
                <a:ext uri="{FF2B5EF4-FFF2-40B4-BE49-F238E27FC236}">
                  <a16:creationId xmlns:a16="http://schemas.microsoft.com/office/drawing/2014/main" id="{02FACC9E-2F37-46CD-9C30-87B819C9A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6063" y="1646238"/>
              <a:ext cx="106363" cy="166688"/>
            </a:xfrm>
            <a:custGeom>
              <a:avLst/>
              <a:gdLst>
                <a:gd name="T0" fmla="*/ 17 w 17"/>
                <a:gd name="T1" fmla="*/ 1 h 27"/>
                <a:gd name="T2" fmla="*/ 17 w 17"/>
                <a:gd name="T3" fmla="*/ 0 h 27"/>
                <a:gd name="T4" fmla="*/ 16 w 17"/>
                <a:gd name="T5" fmla="*/ 0 h 27"/>
                <a:gd name="T6" fmla="*/ 3 w 17"/>
                <a:gd name="T7" fmla="*/ 12 h 27"/>
                <a:gd name="T8" fmla="*/ 1 w 17"/>
                <a:gd name="T9" fmla="*/ 24 h 27"/>
                <a:gd name="T10" fmla="*/ 0 w 17"/>
                <a:gd name="T11" fmla="*/ 27 h 27"/>
                <a:gd name="T12" fmla="*/ 15 w 17"/>
                <a:gd name="T13" fmla="*/ 19 h 27"/>
                <a:gd name="T14" fmla="*/ 17 w 17"/>
                <a:gd name="T15" fmla="*/ 8 h 27"/>
                <a:gd name="T16" fmla="*/ 17 w 17"/>
                <a:gd name="T17" fmla="*/ 8 h 27"/>
                <a:gd name="T18" fmla="*/ 17 w 17"/>
                <a:gd name="T19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7">
                  <a:moveTo>
                    <a:pt x="17" y="1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4" y="1"/>
                    <a:pt x="3" y="7"/>
                    <a:pt x="3" y="12"/>
                  </a:cubicBezTo>
                  <a:cubicBezTo>
                    <a:pt x="2" y="17"/>
                    <a:pt x="2" y="20"/>
                    <a:pt x="1" y="24"/>
                  </a:cubicBezTo>
                  <a:cubicBezTo>
                    <a:pt x="0" y="25"/>
                    <a:pt x="0" y="26"/>
                    <a:pt x="0" y="27"/>
                  </a:cubicBezTo>
                  <a:cubicBezTo>
                    <a:pt x="9" y="25"/>
                    <a:pt x="14" y="22"/>
                    <a:pt x="15" y="19"/>
                  </a:cubicBezTo>
                  <a:cubicBezTo>
                    <a:pt x="16" y="15"/>
                    <a:pt x="16" y="12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6"/>
                    <a:pt x="17" y="3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21">
              <a:extLst>
                <a:ext uri="{FF2B5EF4-FFF2-40B4-BE49-F238E27FC236}">
                  <a16:creationId xmlns:a16="http://schemas.microsoft.com/office/drawing/2014/main" id="{0D131A83-0F22-4C74-8A86-48DEF82FE5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0500" y="1819275"/>
              <a:ext cx="136525" cy="130175"/>
            </a:xfrm>
            <a:custGeom>
              <a:avLst/>
              <a:gdLst>
                <a:gd name="T0" fmla="*/ 6 w 22"/>
                <a:gd name="T1" fmla="*/ 8 h 21"/>
                <a:gd name="T2" fmla="*/ 1 w 22"/>
                <a:gd name="T3" fmla="*/ 18 h 21"/>
                <a:gd name="T4" fmla="*/ 0 w 22"/>
                <a:gd name="T5" fmla="*/ 21 h 21"/>
                <a:gd name="T6" fmla="*/ 17 w 22"/>
                <a:gd name="T7" fmla="*/ 16 h 21"/>
                <a:gd name="T8" fmla="*/ 22 w 22"/>
                <a:gd name="T9" fmla="*/ 1 h 21"/>
                <a:gd name="T10" fmla="*/ 22 w 22"/>
                <a:gd name="T11" fmla="*/ 1 h 21"/>
                <a:gd name="T12" fmla="*/ 22 w 22"/>
                <a:gd name="T13" fmla="*/ 0 h 21"/>
                <a:gd name="T14" fmla="*/ 6 w 22"/>
                <a:gd name="T15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6" y="8"/>
                  </a:moveTo>
                  <a:cubicBezTo>
                    <a:pt x="4" y="12"/>
                    <a:pt x="3" y="15"/>
                    <a:pt x="1" y="18"/>
                  </a:cubicBezTo>
                  <a:cubicBezTo>
                    <a:pt x="1" y="19"/>
                    <a:pt x="0" y="20"/>
                    <a:pt x="0" y="21"/>
                  </a:cubicBezTo>
                  <a:cubicBezTo>
                    <a:pt x="0" y="21"/>
                    <a:pt x="15" y="20"/>
                    <a:pt x="17" y="16"/>
                  </a:cubicBezTo>
                  <a:cubicBezTo>
                    <a:pt x="20" y="10"/>
                    <a:pt x="21" y="7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0"/>
                    <a:pt x="22" y="0"/>
                  </a:cubicBezTo>
                  <a:cubicBezTo>
                    <a:pt x="22" y="0"/>
                    <a:pt x="8" y="3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22">
              <a:extLst>
                <a:ext uri="{FF2B5EF4-FFF2-40B4-BE49-F238E27FC236}">
                  <a16:creationId xmlns:a16="http://schemas.microsoft.com/office/drawing/2014/main" id="{A5946F60-46F4-4381-A712-85DC4C41F4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7638" y="1646238"/>
              <a:ext cx="87313" cy="160338"/>
            </a:xfrm>
            <a:custGeom>
              <a:avLst/>
              <a:gdLst>
                <a:gd name="T0" fmla="*/ 0 w 14"/>
                <a:gd name="T1" fmla="*/ 11 h 26"/>
                <a:gd name="T2" fmla="*/ 11 w 14"/>
                <a:gd name="T3" fmla="*/ 26 h 26"/>
                <a:gd name="T4" fmla="*/ 14 w 14"/>
                <a:gd name="T5" fmla="*/ 13 h 26"/>
                <a:gd name="T6" fmla="*/ 14 w 14"/>
                <a:gd name="T7" fmla="*/ 11 h 26"/>
                <a:gd name="T8" fmla="*/ 1 w 14"/>
                <a:gd name="T9" fmla="*/ 0 h 26"/>
                <a:gd name="T10" fmla="*/ 1 w 14"/>
                <a:gd name="T11" fmla="*/ 0 h 26"/>
                <a:gd name="T12" fmla="*/ 1 w 14"/>
                <a:gd name="T13" fmla="*/ 1 h 26"/>
                <a:gd name="T14" fmla="*/ 0 w 14"/>
                <a:gd name="T15" fmla="*/ 11 h 26"/>
                <a:gd name="T16" fmla="*/ 0 w 14"/>
                <a:gd name="T17" fmla="*/ 11 h 26"/>
                <a:gd name="T18" fmla="*/ 0 w 14"/>
                <a:gd name="T19" fmla="*/ 11 h 26"/>
                <a:gd name="T20" fmla="*/ 0 w 14"/>
                <a:gd name="T21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26">
                  <a:moveTo>
                    <a:pt x="0" y="11"/>
                  </a:moveTo>
                  <a:cubicBezTo>
                    <a:pt x="0" y="16"/>
                    <a:pt x="11" y="26"/>
                    <a:pt x="11" y="26"/>
                  </a:cubicBezTo>
                  <a:cubicBezTo>
                    <a:pt x="12" y="21"/>
                    <a:pt x="14" y="18"/>
                    <a:pt x="14" y="13"/>
                  </a:cubicBezTo>
                  <a:cubicBezTo>
                    <a:pt x="14" y="13"/>
                    <a:pt x="14" y="12"/>
                    <a:pt x="14" y="11"/>
                  </a:cubicBezTo>
                  <a:cubicBezTo>
                    <a:pt x="13" y="6"/>
                    <a:pt x="3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4"/>
                    <a:pt x="0" y="7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23">
              <a:extLst>
                <a:ext uri="{FF2B5EF4-FFF2-40B4-BE49-F238E27FC236}">
                  <a16:creationId xmlns:a16="http://schemas.microsoft.com/office/drawing/2014/main" id="{55622006-7944-4CAF-AF9D-76786B0AD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1288" y="1533525"/>
              <a:ext cx="98425" cy="130175"/>
            </a:xfrm>
            <a:custGeom>
              <a:avLst/>
              <a:gdLst>
                <a:gd name="T0" fmla="*/ 14 w 16"/>
                <a:gd name="T1" fmla="*/ 6 h 21"/>
                <a:gd name="T2" fmla="*/ 0 w 16"/>
                <a:gd name="T3" fmla="*/ 0 h 21"/>
                <a:gd name="T4" fmla="*/ 0 w 16"/>
                <a:gd name="T5" fmla="*/ 6 h 21"/>
                <a:gd name="T6" fmla="*/ 0 w 16"/>
                <a:gd name="T7" fmla="*/ 6 h 21"/>
                <a:gd name="T8" fmla="*/ 0 w 16"/>
                <a:gd name="T9" fmla="*/ 6 h 21"/>
                <a:gd name="T10" fmla="*/ 1 w 16"/>
                <a:gd name="T11" fmla="*/ 10 h 21"/>
                <a:gd name="T12" fmla="*/ 15 w 16"/>
                <a:gd name="T13" fmla="*/ 21 h 21"/>
                <a:gd name="T14" fmla="*/ 15 w 16"/>
                <a:gd name="T15" fmla="*/ 19 h 21"/>
                <a:gd name="T16" fmla="*/ 15 w 16"/>
                <a:gd name="T17" fmla="*/ 18 h 21"/>
                <a:gd name="T18" fmla="*/ 15 w 16"/>
                <a:gd name="T19" fmla="*/ 17 h 21"/>
                <a:gd name="T20" fmla="*/ 14 w 16"/>
                <a:gd name="T21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1">
                  <a:moveTo>
                    <a:pt x="14" y="6"/>
                  </a:moveTo>
                  <a:cubicBezTo>
                    <a:pt x="12" y="2"/>
                    <a:pt x="0" y="0"/>
                    <a:pt x="0" y="0"/>
                  </a:cubicBezTo>
                  <a:cubicBezTo>
                    <a:pt x="0" y="2"/>
                    <a:pt x="0" y="3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1" y="8"/>
                    <a:pt x="1" y="10"/>
                  </a:cubicBezTo>
                  <a:cubicBezTo>
                    <a:pt x="3" y="14"/>
                    <a:pt x="15" y="21"/>
                    <a:pt x="15" y="21"/>
                  </a:cubicBezTo>
                  <a:cubicBezTo>
                    <a:pt x="15" y="20"/>
                    <a:pt x="15" y="20"/>
                    <a:pt x="15" y="19"/>
                  </a:cubicBezTo>
                  <a:cubicBezTo>
                    <a:pt x="15" y="19"/>
                    <a:pt x="15" y="19"/>
                    <a:pt x="15" y="18"/>
                  </a:cubicBezTo>
                  <a:cubicBezTo>
                    <a:pt x="15" y="19"/>
                    <a:pt x="15" y="17"/>
                    <a:pt x="15" y="17"/>
                  </a:cubicBezTo>
                  <a:cubicBezTo>
                    <a:pt x="15" y="13"/>
                    <a:pt x="16" y="10"/>
                    <a:pt x="1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24">
              <a:extLst>
                <a:ext uri="{FF2B5EF4-FFF2-40B4-BE49-F238E27FC236}">
                  <a16:creationId xmlns:a16="http://schemas.microsoft.com/office/drawing/2014/main" id="{B7486F36-8BD1-4E20-8AD8-D98EBC518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8425" y="1416050"/>
              <a:ext cx="123825" cy="104775"/>
            </a:xfrm>
            <a:custGeom>
              <a:avLst/>
              <a:gdLst>
                <a:gd name="T0" fmla="*/ 1 w 20"/>
                <a:gd name="T1" fmla="*/ 2 h 17"/>
                <a:gd name="T2" fmla="*/ 4 w 20"/>
                <a:gd name="T3" fmla="*/ 10 h 17"/>
                <a:gd name="T4" fmla="*/ 20 w 20"/>
                <a:gd name="T5" fmla="*/ 17 h 17"/>
                <a:gd name="T6" fmla="*/ 19 w 20"/>
                <a:gd name="T7" fmla="*/ 15 h 17"/>
                <a:gd name="T8" fmla="*/ 16 w 20"/>
                <a:gd name="T9" fmla="*/ 3 h 17"/>
                <a:gd name="T10" fmla="*/ 0 w 20"/>
                <a:gd name="T11" fmla="*/ 1 h 17"/>
                <a:gd name="T12" fmla="*/ 1 w 20"/>
                <a:gd name="T13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7">
                  <a:moveTo>
                    <a:pt x="1" y="2"/>
                  </a:moveTo>
                  <a:cubicBezTo>
                    <a:pt x="2" y="5"/>
                    <a:pt x="2" y="7"/>
                    <a:pt x="4" y="10"/>
                  </a:cubicBezTo>
                  <a:cubicBezTo>
                    <a:pt x="7" y="15"/>
                    <a:pt x="20" y="17"/>
                    <a:pt x="20" y="17"/>
                  </a:cubicBezTo>
                  <a:cubicBezTo>
                    <a:pt x="20" y="17"/>
                    <a:pt x="20" y="16"/>
                    <a:pt x="19" y="15"/>
                  </a:cubicBezTo>
                  <a:cubicBezTo>
                    <a:pt x="19" y="11"/>
                    <a:pt x="18" y="7"/>
                    <a:pt x="16" y="3"/>
                  </a:cubicBezTo>
                  <a:cubicBezTo>
                    <a:pt x="13" y="0"/>
                    <a:pt x="0" y="1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25">
              <a:extLst>
                <a:ext uri="{FF2B5EF4-FFF2-40B4-BE49-F238E27FC236}">
                  <a16:creationId xmlns:a16="http://schemas.microsoft.com/office/drawing/2014/main" id="{72FB2029-8D4A-44B9-8DA3-9A47506D07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0163" y="1309688"/>
              <a:ext cx="147638" cy="87313"/>
            </a:xfrm>
            <a:custGeom>
              <a:avLst/>
              <a:gdLst>
                <a:gd name="T0" fmla="*/ 24 w 24"/>
                <a:gd name="T1" fmla="*/ 14 h 14"/>
                <a:gd name="T2" fmla="*/ 23 w 24"/>
                <a:gd name="T3" fmla="*/ 11 h 14"/>
                <a:gd name="T4" fmla="*/ 17 w 24"/>
                <a:gd name="T5" fmla="*/ 2 h 14"/>
                <a:gd name="T6" fmla="*/ 1 w 24"/>
                <a:gd name="T7" fmla="*/ 1 h 14"/>
                <a:gd name="T8" fmla="*/ 0 w 24"/>
                <a:gd name="T9" fmla="*/ 1 h 14"/>
                <a:gd name="T10" fmla="*/ 7 w 24"/>
                <a:gd name="T11" fmla="*/ 11 h 14"/>
                <a:gd name="T12" fmla="*/ 24 w 24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4">
                  <a:moveTo>
                    <a:pt x="24" y="14"/>
                  </a:moveTo>
                  <a:cubicBezTo>
                    <a:pt x="23" y="13"/>
                    <a:pt x="23" y="12"/>
                    <a:pt x="23" y="11"/>
                  </a:cubicBezTo>
                  <a:cubicBezTo>
                    <a:pt x="23" y="11"/>
                    <a:pt x="20" y="6"/>
                    <a:pt x="17" y="2"/>
                  </a:cubicBezTo>
                  <a:cubicBezTo>
                    <a:pt x="15" y="0"/>
                    <a:pt x="5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4"/>
                    <a:pt x="4" y="7"/>
                    <a:pt x="7" y="11"/>
                  </a:cubicBezTo>
                  <a:cubicBezTo>
                    <a:pt x="10" y="14"/>
                    <a:pt x="24" y="14"/>
                    <a:pt x="24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26">
              <a:extLst>
                <a:ext uri="{FF2B5EF4-FFF2-40B4-BE49-F238E27FC236}">
                  <a16:creationId xmlns:a16="http://schemas.microsoft.com/office/drawing/2014/main" id="{2F7D8101-7646-4EE0-8FD3-AA0C052593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5888" y="1770063"/>
              <a:ext cx="87313" cy="166688"/>
            </a:xfrm>
            <a:custGeom>
              <a:avLst/>
              <a:gdLst>
                <a:gd name="T0" fmla="*/ 13 w 14"/>
                <a:gd name="T1" fmla="*/ 13 h 27"/>
                <a:gd name="T2" fmla="*/ 13 w 14"/>
                <a:gd name="T3" fmla="*/ 13 h 27"/>
                <a:gd name="T4" fmla="*/ 13 w 14"/>
                <a:gd name="T5" fmla="*/ 13 h 27"/>
                <a:gd name="T6" fmla="*/ 13 w 14"/>
                <a:gd name="T7" fmla="*/ 13 h 27"/>
                <a:gd name="T8" fmla="*/ 13 w 14"/>
                <a:gd name="T9" fmla="*/ 13 h 27"/>
                <a:gd name="T10" fmla="*/ 4 w 14"/>
                <a:gd name="T11" fmla="*/ 0 h 27"/>
                <a:gd name="T12" fmla="*/ 0 w 14"/>
                <a:gd name="T13" fmla="*/ 10 h 27"/>
                <a:gd name="T14" fmla="*/ 0 w 14"/>
                <a:gd name="T15" fmla="*/ 11 h 27"/>
                <a:gd name="T16" fmla="*/ 7 w 14"/>
                <a:gd name="T17" fmla="*/ 27 h 27"/>
                <a:gd name="T18" fmla="*/ 13 w 14"/>
                <a:gd name="T19" fmla="*/ 13 h 27"/>
                <a:gd name="T20" fmla="*/ 13 w 14"/>
                <a:gd name="T2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27">
                  <a:moveTo>
                    <a:pt x="13" y="13"/>
                  </a:move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7"/>
                    <a:pt x="4" y="0"/>
                    <a:pt x="4" y="0"/>
                  </a:cubicBezTo>
                  <a:cubicBezTo>
                    <a:pt x="3" y="4"/>
                    <a:pt x="1" y="5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1" y="18"/>
                    <a:pt x="7" y="27"/>
                    <a:pt x="7" y="27"/>
                  </a:cubicBezTo>
                  <a:cubicBezTo>
                    <a:pt x="10" y="23"/>
                    <a:pt x="12" y="20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27">
              <a:extLst>
                <a:ext uri="{FF2B5EF4-FFF2-40B4-BE49-F238E27FC236}">
                  <a16:creationId xmlns:a16="http://schemas.microsoft.com/office/drawing/2014/main" id="{3777BF29-A821-4344-917F-CDE2DA5D2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3988" y="1185863"/>
              <a:ext cx="92075" cy="198438"/>
            </a:xfrm>
            <a:custGeom>
              <a:avLst/>
              <a:gdLst>
                <a:gd name="T0" fmla="*/ 2 w 15"/>
                <a:gd name="T1" fmla="*/ 19 h 32"/>
                <a:gd name="T2" fmla="*/ 8 w 15"/>
                <a:gd name="T3" fmla="*/ 32 h 32"/>
                <a:gd name="T4" fmla="*/ 15 w 15"/>
                <a:gd name="T5" fmla="*/ 17 h 32"/>
                <a:gd name="T6" fmla="*/ 15 w 15"/>
                <a:gd name="T7" fmla="*/ 17 h 32"/>
                <a:gd name="T8" fmla="*/ 14 w 15"/>
                <a:gd name="T9" fmla="*/ 14 h 32"/>
                <a:gd name="T10" fmla="*/ 4 w 15"/>
                <a:gd name="T11" fmla="*/ 0 h 32"/>
                <a:gd name="T12" fmla="*/ 3 w 15"/>
                <a:gd name="T13" fmla="*/ 5 h 32"/>
                <a:gd name="T14" fmla="*/ 2 w 15"/>
                <a:gd name="T15" fmla="*/ 7 h 32"/>
                <a:gd name="T16" fmla="*/ 2 w 15"/>
                <a:gd name="T17" fmla="*/ 7 h 32"/>
                <a:gd name="T18" fmla="*/ 2 w 15"/>
                <a:gd name="T19" fmla="*/ 7 h 32"/>
                <a:gd name="T20" fmla="*/ 2 w 15"/>
                <a:gd name="T21" fmla="*/ 1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32">
                  <a:moveTo>
                    <a:pt x="2" y="19"/>
                  </a:moveTo>
                  <a:cubicBezTo>
                    <a:pt x="5" y="24"/>
                    <a:pt x="6" y="27"/>
                    <a:pt x="8" y="32"/>
                  </a:cubicBezTo>
                  <a:cubicBezTo>
                    <a:pt x="8" y="32"/>
                    <a:pt x="14" y="23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6"/>
                    <a:pt x="15" y="15"/>
                    <a:pt x="14" y="14"/>
                  </a:cubicBezTo>
                  <a:cubicBezTo>
                    <a:pt x="11" y="8"/>
                    <a:pt x="8" y="4"/>
                    <a:pt x="4" y="0"/>
                  </a:cubicBezTo>
                  <a:cubicBezTo>
                    <a:pt x="4" y="0"/>
                    <a:pt x="3" y="2"/>
                    <a:pt x="3" y="5"/>
                  </a:cubicBezTo>
                  <a:cubicBezTo>
                    <a:pt x="2" y="6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11"/>
                    <a:pt x="0" y="16"/>
                    <a:pt x="2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28">
              <a:extLst>
                <a:ext uri="{FF2B5EF4-FFF2-40B4-BE49-F238E27FC236}">
                  <a16:creationId xmlns:a16="http://schemas.microsoft.com/office/drawing/2014/main" id="{219A809C-108F-4483-8D5B-0B74102F0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3563" y="1446213"/>
              <a:ext cx="395288" cy="398463"/>
            </a:xfrm>
            <a:custGeom>
              <a:avLst/>
              <a:gdLst>
                <a:gd name="T0" fmla="*/ 54 w 64"/>
                <a:gd name="T1" fmla="*/ 64 h 64"/>
                <a:gd name="T2" fmla="*/ 51 w 64"/>
                <a:gd name="T3" fmla="*/ 24 h 64"/>
                <a:gd name="T4" fmla="*/ 51 w 64"/>
                <a:gd name="T5" fmla="*/ 13 h 64"/>
                <a:gd name="T6" fmla="*/ 48 w 64"/>
                <a:gd name="T7" fmla="*/ 24 h 64"/>
                <a:gd name="T8" fmla="*/ 36 w 64"/>
                <a:gd name="T9" fmla="*/ 64 h 64"/>
                <a:gd name="T10" fmla="*/ 27 w 64"/>
                <a:gd name="T11" fmla="*/ 64 h 64"/>
                <a:gd name="T12" fmla="*/ 16 w 64"/>
                <a:gd name="T13" fmla="*/ 25 h 64"/>
                <a:gd name="T14" fmla="*/ 14 w 64"/>
                <a:gd name="T15" fmla="*/ 13 h 64"/>
                <a:gd name="T16" fmla="*/ 13 w 64"/>
                <a:gd name="T17" fmla="*/ 25 h 64"/>
                <a:gd name="T18" fmla="*/ 10 w 64"/>
                <a:gd name="T19" fmla="*/ 64 h 64"/>
                <a:gd name="T20" fmla="*/ 0 w 64"/>
                <a:gd name="T21" fmla="*/ 64 h 64"/>
                <a:gd name="T22" fmla="*/ 6 w 64"/>
                <a:gd name="T23" fmla="*/ 0 h 64"/>
                <a:gd name="T24" fmla="*/ 20 w 64"/>
                <a:gd name="T25" fmla="*/ 0 h 64"/>
                <a:gd name="T26" fmla="*/ 30 w 64"/>
                <a:gd name="T27" fmla="*/ 36 h 64"/>
                <a:gd name="T28" fmla="*/ 32 w 64"/>
                <a:gd name="T29" fmla="*/ 47 h 64"/>
                <a:gd name="T30" fmla="*/ 34 w 64"/>
                <a:gd name="T31" fmla="*/ 37 h 64"/>
                <a:gd name="T32" fmla="*/ 45 w 64"/>
                <a:gd name="T33" fmla="*/ 0 h 64"/>
                <a:gd name="T34" fmla="*/ 59 w 64"/>
                <a:gd name="T35" fmla="*/ 0 h 64"/>
                <a:gd name="T36" fmla="*/ 64 w 64"/>
                <a:gd name="T37" fmla="*/ 64 h 64"/>
                <a:gd name="T38" fmla="*/ 54 w 64"/>
                <a:gd name="T3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" h="64">
                  <a:moveTo>
                    <a:pt x="54" y="64"/>
                  </a:moveTo>
                  <a:cubicBezTo>
                    <a:pt x="51" y="24"/>
                    <a:pt x="51" y="24"/>
                    <a:pt x="51" y="24"/>
                  </a:cubicBezTo>
                  <a:cubicBezTo>
                    <a:pt x="51" y="20"/>
                    <a:pt x="51" y="15"/>
                    <a:pt x="51" y="13"/>
                  </a:cubicBezTo>
                  <a:cubicBezTo>
                    <a:pt x="50" y="15"/>
                    <a:pt x="49" y="19"/>
                    <a:pt x="48" y="2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5" y="21"/>
                    <a:pt x="14" y="15"/>
                    <a:pt x="14" y="13"/>
                  </a:cubicBezTo>
                  <a:cubicBezTo>
                    <a:pt x="14" y="15"/>
                    <a:pt x="13" y="21"/>
                    <a:pt x="13" y="25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1" y="42"/>
                    <a:pt x="32" y="45"/>
                    <a:pt x="32" y="47"/>
                  </a:cubicBezTo>
                  <a:cubicBezTo>
                    <a:pt x="32" y="45"/>
                    <a:pt x="33" y="41"/>
                    <a:pt x="34" y="37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4" y="64"/>
                    <a:pt x="64" y="64"/>
                    <a:pt x="64" y="64"/>
                  </a:cubicBezTo>
                  <a:lnTo>
                    <a:pt x="54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29">
              <a:extLst>
                <a:ext uri="{FF2B5EF4-FFF2-40B4-BE49-F238E27FC236}">
                  <a16:creationId xmlns:a16="http://schemas.microsoft.com/office/drawing/2014/main" id="{57BC3F2C-C4E3-40D0-B5EF-6C01684A3B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4413" y="1446213"/>
              <a:ext cx="273050" cy="398463"/>
            </a:xfrm>
            <a:custGeom>
              <a:avLst/>
              <a:gdLst>
                <a:gd name="T0" fmla="*/ 31 w 44"/>
                <a:gd name="T1" fmla="*/ 64 h 64"/>
                <a:gd name="T2" fmla="*/ 26 w 44"/>
                <a:gd name="T3" fmla="*/ 54 h 64"/>
                <a:gd name="T4" fmla="*/ 15 w 44"/>
                <a:gd name="T5" fmla="*/ 38 h 64"/>
                <a:gd name="T6" fmla="*/ 10 w 44"/>
                <a:gd name="T7" fmla="*/ 36 h 64"/>
                <a:gd name="T8" fmla="*/ 10 w 44"/>
                <a:gd name="T9" fmla="*/ 64 h 64"/>
                <a:gd name="T10" fmla="*/ 0 w 44"/>
                <a:gd name="T11" fmla="*/ 64 h 64"/>
                <a:gd name="T12" fmla="*/ 0 w 44"/>
                <a:gd name="T13" fmla="*/ 0 h 64"/>
                <a:gd name="T14" fmla="*/ 20 w 44"/>
                <a:gd name="T15" fmla="*/ 0 h 64"/>
                <a:gd name="T16" fmla="*/ 41 w 44"/>
                <a:gd name="T17" fmla="*/ 18 h 64"/>
                <a:gd name="T18" fmla="*/ 25 w 44"/>
                <a:gd name="T19" fmla="*/ 36 h 64"/>
                <a:gd name="T20" fmla="*/ 35 w 44"/>
                <a:gd name="T21" fmla="*/ 49 h 64"/>
                <a:gd name="T22" fmla="*/ 44 w 44"/>
                <a:gd name="T23" fmla="*/ 64 h 64"/>
                <a:gd name="T24" fmla="*/ 31 w 44"/>
                <a:gd name="T25" fmla="*/ 64 h 64"/>
                <a:gd name="T26" fmla="*/ 16 w 44"/>
                <a:gd name="T27" fmla="*/ 9 h 64"/>
                <a:gd name="T28" fmla="*/ 10 w 44"/>
                <a:gd name="T29" fmla="*/ 9 h 64"/>
                <a:gd name="T30" fmla="*/ 10 w 44"/>
                <a:gd name="T31" fmla="*/ 29 h 64"/>
                <a:gd name="T32" fmla="*/ 16 w 44"/>
                <a:gd name="T33" fmla="*/ 29 h 64"/>
                <a:gd name="T34" fmla="*/ 26 w 44"/>
                <a:gd name="T35" fmla="*/ 26 h 64"/>
                <a:gd name="T36" fmla="*/ 29 w 44"/>
                <a:gd name="T37" fmla="*/ 18 h 64"/>
                <a:gd name="T38" fmla="*/ 16 w 44"/>
                <a:gd name="T39" fmla="*/ 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4" h="64">
                  <a:moveTo>
                    <a:pt x="31" y="64"/>
                  </a:moveTo>
                  <a:cubicBezTo>
                    <a:pt x="26" y="54"/>
                    <a:pt x="26" y="54"/>
                    <a:pt x="26" y="54"/>
                  </a:cubicBezTo>
                  <a:cubicBezTo>
                    <a:pt x="21" y="46"/>
                    <a:pt x="18" y="42"/>
                    <a:pt x="15" y="38"/>
                  </a:cubicBezTo>
                  <a:cubicBezTo>
                    <a:pt x="13" y="37"/>
                    <a:pt x="13" y="37"/>
                    <a:pt x="10" y="36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34" y="0"/>
                    <a:pt x="41" y="8"/>
                    <a:pt x="41" y="18"/>
                  </a:cubicBezTo>
                  <a:cubicBezTo>
                    <a:pt x="41" y="28"/>
                    <a:pt x="35" y="36"/>
                    <a:pt x="25" y="36"/>
                  </a:cubicBezTo>
                  <a:cubicBezTo>
                    <a:pt x="27" y="37"/>
                    <a:pt x="31" y="43"/>
                    <a:pt x="35" y="49"/>
                  </a:cubicBezTo>
                  <a:cubicBezTo>
                    <a:pt x="44" y="64"/>
                    <a:pt x="44" y="64"/>
                    <a:pt x="44" y="64"/>
                  </a:cubicBezTo>
                  <a:lnTo>
                    <a:pt x="31" y="64"/>
                  </a:lnTo>
                  <a:close/>
                  <a:moveTo>
                    <a:pt x="16" y="9"/>
                  </a:moveTo>
                  <a:cubicBezTo>
                    <a:pt x="10" y="9"/>
                    <a:pt x="10" y="9"/>
                    <a:pt x="10" y="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22" y="29"/>
                    <a:pt x="25" y="28"/>
                    <a:pt x="26" y="26"/>
                  </a:cubicBezTo>
                  <a:cubicBezTo>
                    <a:pt x="28" y="24"/>
                    <a:pt x="29" y="22"/>
                    <a:pt x="29" y="18"/>
                  </a:cubicBezTo>
                  <a:cubicBezTo>
                    <a:pt x="29" y="12"/>
                    <a:pt x="26" y="9"/>
                    <a:pt x="16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30">
              <a:extLst>
                <a:ext uri="{FF2B5EF4-FFF2-40B4-BE49-F238E27FC236}">
                  <a16:creationId xmlns:a16="http://schemas.microsoft.com/office/drawing/2014/main" id="{D2C594BC-0E4B-4E0A-B2B1-1B8C1E122E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163" y="1881188"/>
              <a:ext cx="1276350" cy="465138"/>
            </a:xfrm>
            <a:custGeom>
              <a:avLst/>
              <a:gdLst>
                <a:gd name="T0" fmla="*/ 175 w 206"/>
                <a:gd name="T1" fmla="*/ 0 h 75"/>
                <a:gd name="T2" fmla="*/ 91 w 206"/>
                <a:gd name="T3" fmla="*/ 42 h 75"/>
                <a:gd name="T4" fmla="*/ 13 w 206"/>
                <a:gd name="T5" fmla="*/ 15 h 75"/>
                <a:gd name="T6" fmla="*/ 7 w 206"/>
                <a:gd name="T7" fmla="*/ 26 h 75"/>
                <a:gd name="T8" fmla="*/ 15 w 206"/>
                <a:gd name="T9" fmla="*/ 34 h 75"/>
                <a:gd name="T10" fmla="*/ 24 w 206"/>
                <a:gd name="T11" fmla="*/ 34 h 75"/>
                <a:gd name="T12" fmla="*/ 28 w 206"/>
                <a:gd name="T13" fmla="*/ 38 h 75"/>
                <a:gd name="T14" fmla="*/ 27 w 206"/>
                <a:gd name="T15" fmla="*/ 48 h 75"/>
                <a:gd name="T16" fmla="*/ 38 w 206"/>
                <a:gd name="T17" fmla="*/ 54 h 75"/>
                <a:gd name="T18" fmla="*/ 46 w 206"/>
                <a:gd name="T19" fmla="*/ 52 h 75"/>
                <a:gd name="T20" fmla="*/ 52 w 206"/>
                <a:gd name="T21" fmla="*/ 57 h 75"/>
                <a:gd name="T22" fmla="*/ 52 w 206"/>
                <a:gd name="T23" fmla="*/ 63 h 75"/>
                <a:gd name="T24" fmla="*/ 63 w 206"/>
                <a:gd name="T25" fmla="*/ 69 h 75"/>
                <a:gd name="T26" fmla="*/ 71 w 206"/>
                <a:gd name="T27" fmla="*/ 63 h 75"/>
                <a:gd name="T28" fmla="*/ 81 w 206"/>
                <a:gd name="T29" fmla="*/ 72 h 75"/>
                <a:gd name="T30" fmla="*/ 94 w 206"/>
                <a:gd name="T31" fmla="*/ 74 h 75"/>
                <a:gd name="T32" fmla="*/ 97 w 206"/>
                <a:gd name="T33" fmla="*/ 69 h 75"/>
                <a:gd name="T34" fmla="*/ 98 w 206"/>
                <a:gd name="T35" fmla="*/ 69 h 75"/>
                <a:gd name="T36" fmla="*/ 98 w 206"/>
                <a:gd name="T37" fmla="*/ 68 h 75"/>
                <a:gd name="T38" fmla="*/ 99 w 206"/>
                <a:gd name="T39" fmla="*/ 68 h 75"/>
                <a:gd name="T40" fmla="*/ 100 w 206"/>
                <a:gd name="T41" fmla="*/ 68 h 75"/>
                <a:gd name="T42" fmla="*/ 109 w 206"/>
                <a:gd name="T43" fmla="*/ 70 h 75"/>
                <a:gd name="T44" fmla="*/ 123 w 206"/>
                <a:gd name="T45" fmla="*/ 74 h 75"/>
                <a:gd name="T46" fmla="*/ 124 w 206"/>
                <a:gd name="T47" fmla="*/ 74 h 75"/>
                <a:gd name="T48" fmla="*/ 124 w 206"/>
                <a:gd name="T49" fmla="*/ 74 h 75"/>
                <a:gd name="T50" fmla="*/ 124 w 206"/>
                <a:gd name="T51" fmla="*/ 73 h 75"/>
                <a:gd name="T52" fmla="*/ 125 w 206"/>
                <a:gd name="T53" fmla="*/ 73 h 75"/>
                <a:gd name="T54" fmla="*/ 126 w 206"/>
                <a:gd name="T55" fmla="*/ 67 h 75"/>
                <a:gd name="T56" fmla="*/ 127 w 206"/>
                <a:gd name="T57" fmla="*/ 66 h 75"/>
                <a:gd name="T58" fmla="*/ 127 w 206"/>
                <a:gd name="T59" fmla="*/ 66 h 75"/>
                <a:gd name="T60" fmla="*/ 127 w 206"/>
                <a:gd name="T61" fmla="*/ 65 h 75"/>
                <a:gd name="T62" fmla="*/ 128 w 206"/>
                <a:gd name="T63" fmla="*/ 65 h 75"/>
                <a:gd name="T64" fmla="*/ 137 w 206"/>
                <a:gd name="T65" fmla="*/ 65 h 75"/>
                <a:gd name="T66" fmla="*/ 143 w 206"/>
                <a:gd name="T67" fmla="*/ 69 h 75"/>
                <a:gd name="T68" fmla="*/ 153 w 206"/>
                <a:gd name="T69" fmla="*/ 62 h 75"/>
                <a:gd name="T70" fmla="*/ 154 w 206"/>
                <a:gd name="T71" fmla="*/ 56 h 75"/>
                <a:gd name="T72" fmla="*/ 154 w 206"/>
                <a:gd name="T73" fmla="*/ 55 h 75"/>
                <a:gd name="T74" fmla="*/ 155 w 206"/>
                <a:gd name="T75" fmla="*/ 54 h 75"/>
                <a:gd name="T76" fmla="*/ 163 w 206"/>
                <a:gd name="T77" fmla="*/ 52 h 75"/>
                <a:gd name="T78" fmla="*/ 170 w 206"/>
                <a:gd name="T79" fmla="*/ 54 h 75"/>
                <a:gd name="T80" fmla="*/ 179 w 206"/>
                <a:gd name="T81" fmla="*/ 48 h 75"/>
                <a:gd name="T82" fmla="*/ 178 w 206"/>
                <a:gd name="T83" fmla="*/ 38 h 75"/>
                <a:gd name="T84" fmla="*/ 178 w 206"/>
                <a:gd name="T85" fmla="*/ 37 h 75"/>
                <a:gd name="T86" fmla="*/ 190 w 206"/>
                <a:gd name="T87" fmla="*/ 34 h 75"/>
                <a:gd name="T88" fmla="*/ 198 w 206"/>
                <a:gd name="T89" fmla="*/ 2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6" h="75">
                  <a:moveTo>
                    <a:pt x="204" y="13"/>
                  </a:moveTo>
                  <a:cubicBezTo>
                    <a:pt x="203" y="13"/>
                    <a:pt x="195" y="16"/>
                    <a:pt x="184" y="16"/>
                  </a:cubicBezTo>
                  <a:cubicBezTo>
                    <a:pt x="180" y="11"/>
                    <a:pt x="176" y="0"/>
                    <a:pt x="175" y="0"/>
                  </a:cubicBezTo>
                  <a:cubicBezTo>
                    <a:pt x="164" y="22"/>
                    <a:pt x="141" y="38"/>
                    <a:pt x="114" y="42"/>
                  </a:cubicBezTo>
                  <a:cubicBezTo>
                    <a:pt x="110" y="42"/>
                    <a:pt x="106" y="43"/>
                    <a:pt x="103" y="43"/>
                  </a:cubicBezTo>
                  <a:cubicBezTo>
                    <a:pt x="99" y="43"/>
                    <a:pt x="95" y="42"/>
                    <a:pt x="91" y="42"/>
                  </a:cubicBezTo>
                  <a:cubicBezTo>
                    <a:pt x="64" y="38"/>
                    <a:pt x="42" y="22"/>
                    <a:pt x="30" y="0"/>
                  </a:cubicBezTo>
                  <a:cubicBezTo>
                    <a:pt x="30" y="0"/>
                    <a:pt x="26" y="12"/>
                    <a:pt x="21" y="16"/>
                  </a:cubicBezTo>
                  <a:cubicBezTo>
                    <a:pt x="20" y="16"/>
                    <a:pt x="17" y="16"/>
                    <a:pt x="13" y="15"/>
                  </a:cubicBezTo>
                  <a:cubicBezTo>
                    <a:pt x="7" y="14"/>
                    <a:pt x="2" y="13"/>
                    <a:pt x="1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6"/>
                    <a:pt x="5" y="22"/>
                    <a:pt x="7" y="26"/>
                  </a:cubicBezTo>
                  <a:cubicBezTo>
                    <a:pt x="8" y="26"/>
                    <a:pt x="12" y="32"/>
                    <a:pt x="13" y="34"/>
                  </a:cubicBezTo>
                  <a:cubicBezTo>
                    <a:pt x="14" y="34"/>
                    <a:pt x="14" y="34"/>
                    <a:pt x="15" y="34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22" y="33"/>
                    <a:pt x="22" y="33"/>
                  </a:cubicBezTo>
                  <a:cubicBezTo>
                    <a:pt x="23" y="33"/>
                    <a:pt x="23" y="33"/>
                    <a:pt x="24" y="34"/>
                  </a:cubicBezTo>
                  <a:cubicBezTo>
                    <a:pt x="24" y="34"/>
                    <a:pt x="27" y="37"/>
                    <a:pt x="27" y="37"/>
                  </a:cubicBezTo>
                  <a:cubicBezTo>
                    <a:pt x="28" y="37"/>
                    <a:pt x="28" y="38"/>
                    <a:pt x="28" y="38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6" y="47"/>
                    <a:pt x="26" y="47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30" y="51"/>
                    <a:pt x="32" y="53"/>
                    <a:pt x="35" y="54"/>
                  </a:cubicBezTo>
                  <a:cubicBezTo>
                    <a:pt x="35" y="55"/>
                    <a:pt x="36" y="55"/>
                    <a:pt x="36" y="55"/>
                  </a:cubicBezTo>
                  <a:cubicBezTo>
                    <a:pt x="36" y="55"/>
                    <a:pt x="37" y="55"/>
                    <a:pt x="38" y="54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3" y="52"/>
                    <a:pt x="44" y="51"/>
                    <a:pt x="44" y="51"/>
                  </a:cubicBezTo>
                  <a:cubicBezTo>
                    <a:pt x="45" y="51"/>
                    <a:pt x="45" y="52"/>
                    <a:pt x="46" y="52"/>
                  </a:cubicBezTo>
                  <a:cubicBezTo>
                    <a:pt x="46" y="52"/>
                    <a:pt x="50" y="54"/>
                    <a:pt x="51" y="55"/>
                  </a:cubicBezTo>
                  <a:cubicBezTo>
                    <a:pt x="51" y="55"/>
                    <a:pt x="52" y="56"/>
                    <a:pt x="52" y="57"/>
                  </a:cubicBezTo>
                  <a:cubicBezTo>
                    <a:pt x="52" y="57"/>
                    <a:pt x="52" y="57"/>
                    <a:pt x="52" y="57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4"/>
                    <a:pt x="52" y="64"/>
                    <a:pt x="53" y="65"/>
                  </a:cubicBezTo>
                  <a:cubicBezTo>
                    <a:pt x="55" y="66"/>
                    <a:pt x="61" y="69"/>
                    <a:pt x="62" y="69"/>
                  </a:cubicBezTo>
                  <a:cubicBezTo>
                    <a:pt x="62" y="69"/>
                    <a:pt x="63" y="69"/>
                    <a:pt x="63" y="69"/>
                  </a:cubicBezTo>
                  <a:cubicBezTo>
                    <a:pt x="63" y="69"/>
                    <a:pt x="64" y="69"/>
                    <a:pt x="65" y="68"/>
                  </a:cubicBezTo>
                  <a:cubicBezTo>
                    <a:pt x="69" y="65"/>
                    <a:pt x="69" y="65"/>
                    <a:pt x="69" y="65"/>
                  </a:cubicBezTo>
                  <a:cubicBezTo>
                    <a:pt x="69" y="64"/>
                    <a:pt x="70" y="63"/>
                    <a:pt x="71" y="63"/>
                  </a:cubicBezTo>
                  <a:cubicBezTo>
                    <a:pt x="72" y="63"/>
                    <a:pt x="77" y="65"/>
                    <a:pt x="77" y="65"/>
                  </a:cubicBezTo>
                  <a:cubicBezTo>
                    <a:pt x="78" y="65"/>
                    <a:pt x="79" y="66"/>
                    <a:pt x="79" y="67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4"/>
                    <a:pt x="82" y="74"/>
                    <a:pt x="83" y="74"/>
                  </a:cubicBezTo>
                  <a:cubicBezTo>
                    <a:pt x="83" y="74"/>
                    <a:pt x="91" y="75"/>
                    <a:pt x="92" y="75"/>
                  </a:cubicBezTo>
                  <a:cubicBezTo>
                    <a:pt x="92" y="75"/>
                    <a:pt x="93" y="75"/>
                    <a:pt x="94" y="74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97" y="70"/>
                    <a:pt x="97" y="69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69"/>
                    <a:pt x="98" y="69"/>
                    <a:pt x="98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8"/>
                    <a:pt x="98" y="68"/>
                    <a:pt x="98" y="68"/>
                  </a:cubicBezTo>
                  <a:cubicBezTo>
                    <a:pt x="98" y="68"/>
                    <a:pt x="98" y="68"/>
                    <a:pt x="98" y="68"/>
                  </a:cubicBezTo>
                  <a:cubicBezTo>
                    <a:pt x="98" y="68"/>
                    <a:pt x="98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100" y="68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100" y="68"/>
                    <a:pt x="105" y="68"/>
                    <a:pt x="105" y="68"/>
                  </a:cubicBezTo>
                  <a:cubicBezTo>
                    <a:pt x="107" y="68"/>
                    <a:pt x="108" y="68"/>
                    <a:pt x="109" y="70"/>
                  </a:cubicBezTo>
                  <a:cubicBezTo>
                    <a:pt x="112" y="74"/>
                    <a:pt x="112" y="74"/>
                    <a:pt x="112" y="74"/>
                  </a:cubicBezTo>
                  <a:cubicBezTo>
                    <a:pt x="112" y="75"/>
                    <a:pt x="113" y="75"/>
                    <a:pt x="114" y="75"/>
                  </a:cubicBezTo>
                  <a:cubicBezTo>
                    <a:pt x="114" y="75"/>
                    <a:pt x="122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4" y="74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5" y="73"/>
                    <a:pt x="125" y="72"/>
                    <a:pt x="125" y="72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26" y="67"/>
                    <a:pt x="127" y="67"/>
                    <a:pt x="127" y="67"/>
                  </a:cubicBezTo>
                  <a:cubicBezTo>
                    <a:pt x="127" y="67"/>
                    <a:pt x="127" y="67"/>
                    <a:pt x="127" y="67"/>
                  </a:cubicBezTo>
                  <a:cubicBezTo>
                    <a:pt x="127" y="67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5"/>
                    <a:pt x="127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9" y="65"/>
                    <a:pt x="134" y="63"/>
                    <a:pt x="134" y="63"/>
                  </a:cubicBezTo>
                  <a:cubicBezTo>
                    <a:pt x="135" y="63"/>
                    <a:pt x="136" y="64"/>
                    <a:pt x="137" y="65"/>
                  </a:cubicBezTo>
                  <a:cubicBezTo>
                    <a:pt x="141" y="68"/>
                    <a:pt x="141" y="68"/>
                    <a:pt x="141" y="68"/>
                  </a:cubicBezTo>
                  <a:cubicBezTo>
                    <a:pt x="141" y="69"/>
                    <a:pt x="142" y="69"/>
                    <a:pt x="143" y="69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4" y="69"/>
                    <a:pt x="144" y="68"/>
                    <a:pt x="145" y="68"/>
                  </a:cubicBezTo>
                  <a:cubicBezTo>
                    <a:pt x="147" y="67"/>
                    <a:pt x="150" y="66"/>
                    <a:pt x="152" y="65"/>
                  </a:cubicBezTo>
                  <a:cubicBezTo>
                    <a:pt x="154" y="64"/>
                    <a:pt x="153" y="63"/>
                    <a:pt x="153" y="62"/>
                  </a:cubicBezTo>
                  <a:cubicBezTo>
                    <a:pt x="154" y="61"/>
                    <a:pt x="154" y="61"/>
                    <a:pt x="154" y="60"/>
                  </a:cubicBezTo>
                  <a:cubicBezTo>
                    <a:pt x="154" y="60"/>
                    <a:pt x="154" y="60"/>
                    <a:pt x="154" y="60"/>
                  </a:cubicBezTo>
                  <a:cubicBezTo>
                    <a:pt x="154" y="56"/>
                    <a:pt x="154" y="56"/>
                    <a:pt x="154" y="56"/>
                  </a:cubicBezTo>
                  <a:cubicBezTo>
                    <a:pt x="154" y="56"/>
                    <a:pt x="154" y="56"/>
                    <a:pt x="154" y="56"/>
                  </a:cubicBezTo>
                  <a:cubicBezTo>
                    <a:pt x="154" y="56"/>
                    <a:pt x="154" y="55"/>
                    <a:pt x="154" y="55"/>
                  </a:cubicBezTo>
                  <a:cubicBezTo>
                    <a:pt x="154" y="55"/>
                    <a:pt x="154" y="55"/>
                    <a:pt x="154" y="55"/>
                  </a:cubicBezTo>
                  <a:cubicBezTo>
                    <a:pt x="155" y="55"/>
                    <a:pt x="155" y="55"/>
                    <a:pt x="155" y="55"/>
                  </a:cubicBezTo>
                  <a:cubicBezTo>
                    <a:pt x="155" y="55"/>
                    <a:pt x="155" y="55"/>
                    <a:pt x="155" y="55"/>
                  </a:cubicBezTo>
                  <a:cubicBezTo>
                    <a:pt x="155" y="55"/>
                    <a:pt x="155" y="54"/>
                    <a:pt x="155" y="54"/>
                  </a:cubicBezTo>
                  <a:cubicBezTo>
                    <a:pt x="155" y="54"/>
                    <a:pt x="159" y="52"/>
                    <a:pt x="160" y="52"/>
                  </a:cubicBezTo>
                  <a:cubicBezTo>
                    <a:pt x="160" y="52"/>
                    <a:pt x="161" y="51"/>
                    <a:pt x="161" y="51"/>
                  </a:cubicBezTo>
                  <a:cubicBezTo>
                    <a:pt x="162" y="51"/>
                    <a:pt x="162" y="52"/>
                    <a:pt x="163" y="52"/>
                  </a:cubicBezTo>
                  <a:cubicBezTo>
                    <a:pt x="168" y="54"/>
                    <a:pt x="168" y="54"/>
                    <a:pt x="168" y="54"/>
                  </a:cubicBezTo>
                  <a:cubicBezTo>
                    <a:pt x="168" y="55"/>
                    <a:pt x="169" y="55"/>
                    <a:pt x="169" y="55"/>
                  </a:cubicBezTo>
                  <a:cubicBezTo>
                    <a:pt x="170" y="55"/>
                    <a:pt x="170" y="55"/>
                    <a:pt x="170" y="54"/>
                  </a:cubicBezTo>
                  <a:cubicBezTo>
                    <a:pt x="173" y="53"/>
                    <a:pt x="175" y="51"/>
                    <a:pt x="178" y="48"/>
                  </a:cubicBezTo>
                  <a:cubicBezTo>
                    <a:pt x="178" y="48"/>
                    <a:pt x="178" y="48"/>
                    <a:pt x="178" y="48"/>
                  </a:cubicBezTo>
                  <a:cubicBezTo>
                    <a:pt x="178" y="48"/>
                    <a:pt x="178" y="48"/>
                    <a:pt x="179" y="48"/>
                  </a:cubicBezTo>
                  <a:cubicBezTo>
                    <a:pt x="179" y="47"/>
                    <a:pt x="180" y="46"/>
                    <a:pt x="179" y="45"/>
                  </a:cubicBezTo>
                  <a:cubicBezTo>
                    <a:pt x="177" y="38"/>
                    <a:pt x="177" y="38"/>
                    <a:pt x="177" y="38"/>
                  </a:cubicBezTo>
                  <a:cubicBezTo>
                    <a:pt x="177" y="38"/>
                    <a:pt x="177" y="38"/>
                    <a:pt x="178" y="38"/>
                  </a:cubicBezTo>
                  <a:cubicBezTo>
                    <a:pt x="178" y="38"/>
                    <a:pt x="178" y="38"/>
                    <a:pt x="178" y="37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81" y="34"/>
                    <a:pt x="182" y="33"/>
                    <a:pt x="183" y="33"/>
                  </a:cubicBezTo>
                  <a:cubicBezTo>
                    <a:pt x="184" y="33"/>
                    <a:pt x="190" y="34"/>
                    <a:pt x="190" y="34"/>
                  </a:cubicBezTo>
                  <a:cubicBezTo>
                    <a:pt x="190" y="34"/>
                    <a:pt x="191" y="34"/>
                    <a:pt x="191" y="34"/>
                  </a:cubicBezTo>
                  <a:cubicBezTo>
                    <a:pt x="191" y="34"/>
                    <a:pt x="192" y="34"/>
                    <a:pt x="192" y="34"/>
                  </a:cubicBezTo>
                  <a:cubicBezTo>
                    <a:pt x="193" y="32"/>
                    <a:pt x="198" y="26"/>
                    <a:pt x="198" y="26"/>
                  </a:cubicBezTo>
                  <a:cubicBezTo>
                    <a:pt x="200" y="22"/>
                    <a:pt x="204" y="15"/>
                    <a:pt x="206" y="12"/>
                  </a:cubicBezTo>
                  <a:lnTo>
                    <a:pt x="20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0405386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ohne Text">
    <p:bg>
      <p:bgPr>
        <a:gradFill>
          <a:gsLst>
            <a:gs pos="20000">
              <a:schemeClr val="bg2"/>
            </a:gs>
            <a:gs pos="81000">
              <a:srgbClr val="3C701D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2D4293CE-185C-4D8A-9712-FBC5F31EB612}"/>
              </a:ext>
            </a:extLst>
          </p:cNvPr>
          <p:cNvGrpSpPr/>
          <p:nvPr userDrawn="1"/>
        </p:nvGrpSpPr>
        <p:grpSpPr>
          <a:xfrm>
            <a:off x="11408675" y="6072554"/>
            <a:ext cx="527308" cy="525522"/>
            <a:chOff x="1485900" y="944563"/>
            <a:chExt cx="1406526" cy="1401763"/>
          </a:xfrm>
          <a:solidFill>
            <a:schemeClr val="bg1"/>
          </a:solidFill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9061AFCA-6682-453C-921C-9106E1027F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6088" y="1019175"/>
              <a:ext cx="946150" cy="247650"/>
            </a:xfrm>
            <a:custGeom>
              <a:avLst/>
              <a:gdLst>
                <a:gd name="T0" fmla="*/ 76 w 153"/>
                <a:gd name="T1" fmla="*/ 0 h 40"/>
                <a:gd name="T2" fmla="*/ 0 w 153"/>
                <a:gd name="T3" fmla="*/ 35 h 40"/>
                <a:gd name="T4" fmla="*/ 0 w 153"/>
                <a:gd name="T5" fmla="*/ 39 h 40"/>
                <a:gd name="T6" fmla="*/ 4 w 153"/>
                <a:gd name="T7" fmla="*/ 39 h 40"/>
                <a:gd name="T8" fmla="*/ 76 w 153"/>
                <a:gd name="T9" fmla="*/ 6 h 40"/>
                <a:gd name="T10" fmla="*/ 149 w 153"/>
                <a:gd name="T11" fmla="*/ 40 h 40"/>
                <a:gd name="T12" fmla="*/ 153 w 153"/>
                <a:gd name="T13" fmla="*/ 40 h 40"/>
                <a:gd name="T14" fmla="*/ 153 w 153"/>
                <a:gd name="T15" fmla="*/ 36 h 40"/>
                <a:gd name="T16" fmla="*/ 76 w 153"/>
                <a:gd name="T1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40">
                  <a:moveTo>
                    <a:pt x="76" y="0"/>
                  </a:moveTo>
                  <a:cubicBezTo>
                    <a:pt x="45" y="0"/>
                    <a:pt x="18" y="12"/>
                    <a:pt x="0" y="35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21" y="18"/>
                    <a:pt x="46" y="6"/>
                    <a:pt x="76" y="6"/>
                  </a:cubicBezTo>
                  <a:cubicBezTo>
                    <a:pt x="106" y="6"/>
                    <a:pt x="131" y="18"/>
                    <a:pt x="149" y="40"/>
                  </a:cubicBezTo>
                  <a:cubicBezTo>
                    <a:pt x="153" y="40"/>
                    <a:pt x="153" y="40"/>
                    <a:pt x="153" y="40"/>
                  </a:cubicBezTo>
                  <a:cubicBezTo>
                    <a:pt x="153" y="36"/>
                    <a:pt x="153" y="36"/>
                    <a:pt x="153" y="36"/>
                  </a:cubicBezTo>
                  <a:cubicBezTo>
                    <a:pt x="135" y="13"/>
                    <a:pt x="108" y="0"/>
                    <a:pt x="7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1DCCD3B6-7030-4656-B1F0-98440EA214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9113" y="1100138"/>
              <a:ext cx="800100" cy="173038"/>
            </a:xfrm>
            <a:custGeom>
              <a:avLst/>
              <a:gdLst>
                <a:gd name="T0" fmla="*/ 127 w 129"/>
                <a:gd name="T1" fmla="*/ 26 h 28"/>
                <a:gd name="T2" fmla="*/ 64 w 129"/>
                <a:gd name="T3" fmla="*/ 0 h 28"/>
                <a:gd name="T4" fmla="*/ 1 w 129"/>
                <a:gd name="T5" fmla="*/ 26 h 28"/>
                <a:gd name="T6" fmla="*/ 1 w 129"/>
                <a:gd name="T7" fmla="*/ 26 h 28"/>
                <a:gd name="T8" fmla="*/ 0 w 129"/>
                <a:gd name="T9" fmla="*/ 28 h 28"/>
                <a:gd name="T10" fmla="*/ 8 w 129"/>
                <a:gd name="T11" fmla="*/ 28 h 28"/>
                <a:gd name="T12" fmla="*/ 64 w 129"/>
                <a:gd name="T13" fmla="*/ 6 h 28"/>
                <a:gd name="T14" fmla="*/ 121 w 129"/>
                <a:gd name="T15" fmla="*/ 28 h 28"/>
                <a:gd name="T16" fmla="*/ 129 w 129"/>
                <a:gd name="T17" fmla="*/ 28 h 28"/>
                <a:gd name="T18" fmla="*/ 127 w 129"/>
                <a:gd name="T19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9" h="28">
                  <a:moveTo>
                    <a:pt x="127" y="26"/>
                  </a:moveTo>
                  <a:cubicBezTo>
                    <a:pt x="111" y="10"/>
                    <a:pt x="89" y="0"/>
                    <a:pt x="64" y="0"/>
                  </a:cubicBezTo>
                  <a:cubicBezTo>
                    <a:pt x="40" y="0"/>
                    <a:pt x="17" y="10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7"/>
                    <a:pt x="0" y="27"/>
                    <a:pt x="0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23" y="14"/>
                    <a:pt x="43" y="6"/>
                    <a:pt x="64" y="6"/>
                  </a:cubicBezTo>
                  <a:cubicBezTo>
                    <a:pt x="86" y="6"/>
                    <a:pt x="106" y="14"/>
                    <a:pt x="121" y="28"/>
                  </a:cubicBezTo>
                  <a:cubicBezTo>
                    <a:pt x="129" y="28"/>
                    <a:pt x="129" y="28"/>
                    <a:pt x="129" y="28"/>
                  </a:cubicBezTo>
                  <a:cubicBezTo>
                    <a:pt x="128" y="27"/>
                    <a:pt x="128" y="27"/>
                    <a:pt x="12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0C7667DA-AF0F-4BFF-9083-961589EEAE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0688" y="944563"/>
              <a:ext cx="984250" cy="247650"/>
            </a:xfrm>
            <a:custGeom>
              <a:avLst/>
              <a:gdLst>
                <a:gd name="T0" fmla="*/ 159 w 159"/>
                <a:gd name="T1" fmla="*/ 32 h 40"/>
                <a:gd name="T2" fmla="*/ 79 w 159"/>
                <a:gd name="T3" fmla="*/ 0 h 40"/>
                <a:gd name="T4" fmla="*/ 0 w 159"/>
                <a:gd name="T5" fmla="*/ 32 h 40"/>
                <a:gd name="T6" fmla="*/ 1 w 159"/>
                <a:gd name="T7" fmla="*/ 39 h 40"/>
                <a:gd name="T8" fmla="*/ 79 w 159"/>
                <a:gd name="T9" fmla="*/ 5 h 40"/>
                <a:gd name="T10" fmla="*/ 159 w 159"/>
                <a:gd name="T11" fmla="*/ 40 h 40"/>
                <a:gd name="T12" fmla="*/ 159 w 159"/>
                <a:gd name="T13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40">
                  <a:moveTo>
                    <a:pt x="159" y="32"/>
                  </a:moveTo>
                  <a:cubicBezTo>
                    <a:pt x="139" y="12"/>
                    <a:pt x="111" y="0"/>
                    <a:pt x="79" y="0"/>
                  </a:cubicBezTo>
                  <a:cubicBezTo>
                    <a:pt x="48" y="0"/>
                    <a:pt x="20" y="12"/>
                    <a:pt x="0" y="32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20" y="18"/>
                    <a:pt x="48" y="5"/>
                    <a:pt x="79" y="5"/>
                  </a:cubicBezTo>
                  <a:cubicBezTo>
                    <a:pt x="111" y="5"/>
                    <a:pt x="139" y="18"/>
                    <a:pt x="159" y="40"/>
                  </a:cubicBezTo>
                  <a:lnTo>
                    <a:pt x="159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F3EDFD00-49FB-478E-BA89-008FAF2F4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263" y="1185863"/>
              <a:ext cx="85725" cy="198438"/>
            </a:xfrm>
            <a:custGeom>
              <a:avLst/>
              <a:gdLst>
                <a:gd name="T0" fmla="*/ 0 w 14"/>
                <a:gd name="T1" fmla="*/ 17 h 32"/>
                <a:gd name="T2" fmla="*/ 6 w 14"/>
                <a:gd name="T3" fmla="*/ 32 h 32"/>
                <a:gd name="T4" fmla="*/ 13 w 14"/>
                <a:gd name="T5" fmla="*/ 19 h 32"/>
                <a:gd name="T6" fmla="*/ 12 w 14"/>
                <a:gd name="T7" fmla="*/ 7 h 32"/>
                <a:gd name="T8" fmla="*/ 12 w 14"/>
                <a:gd name="T9" fmla="*/ 7 h 32"/>
                <a:gd name="T10" fmla="*/ 12 w 14"/>
                <a:gd name="T11" fmla="*/ 7 h 32"/>
                <a:gd name="T12" fmla="*/ 12 w 14"/>
                <a:gd name="T13" fmla="*/ 5 h 32"/>
                <a:gd name="T14" fmla="*/ 10 w 14"/>
                <a:gd name="T15" fmla="*/ 0 h 32"/>
                <a:gd name="T16" fmla="*/ 0 w 14"/>
                <a:gd name="T17" fmla="*/ 14 h 32"/>
                <a:gd name="T18" fmla="*/ 0 w 14"/>
                <a:gd name="T19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32">
                  <a:moveTo>
                    <a:pt x="0" y="17"/>
                  </a:moveTo>
                  <a:cubicBezTo>
                    <a:pt x="0" y="23"/>
                    <a:pt x="6" y="32"/>
                    <a:pt x="6" y="32"/>
                  </a:cubicBezTo>
                  <a:cubicBezTo>
                    <a:pt x="8" y="27"/>
                    <a:pt x="9" y="24"/>
                    <a:pt x="13" y="19"/>
                  </a:cubicBezTo>
                  <a:cubicBezTo>
                    <a:pt x="14" y="16"/>
                    <a:pt x="13" y="11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6"/>
                    <a:pt x="12" y="5"/>
                  </a:cubicBezTo>
                  <a:cubicBezTo>
                    <a:pt x="11" y="2"/>
                    <a:pt x="10" y="0"/>
                    <a:pt x="10" y="0"/>
                  </a:cubicBezTo>
                  <a:cubicBezTo>
                    <a:pt x="6" y="4"/>
                    <a:pt x="3" y="8"/>
                    <a:pt x="0" y="14"/>
                  </a:cubicBezTo>
                  <a:cubicBezTo>
                    <a:pt x="0" y="15"/>
                    <a:pt x="0" y="16"/>
                    <a:pt x="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D0E8A831-D288-4A82-85FF-58748FB842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900" y="1471613"/>
              <a:ext cx="87313" cy="192088"/>
            </a:xfrm>
            <a:custGeom>
              <a:avLst/>
              <a:gdLst>
                <a:gd name="T0" fmla="*/ 0 w 14"/>
                <a:gd name="T1" fmla="*/ 18 h 31"/>
                <a:gd name="T2" fmla="*/ 0 w 14"/>
                <a:gd name="T3" fmla="*/ 19 h 31"/>
                <a:gd name="T4" fmla="*/ 13 w 14"/>
                <a:gd name="T5" fmla="*/ 31 h 31"/>
                <a:gd name="T6" fmla="*/ 13 w 14"/>
                <a:gd name="T7" fmla="*/ 29 h 31"/>
                <a:gd name="T8" fmla="*/ 13 w 14"/>
                <a:gd name="T9" fmla="*/ 28 h 31"/>
                <a:gd name="T10" fmla="*/ 13 w 14"/>
                <a:gd name="T11" fmla="*/ 27 h 31"/>
                <a:gd name="T12" fmla="*/ 14 w 14"/>
                <a:gd name="T13" fmla="*/ 16 h 31"/>
                <a:gd name="T14" fmla="*/ 3 w 14"/>
                <a:gd name="T15" fmla="*/ 0 h 31"/>
                <a:gd name="T16" fmla="*/ 0 w 14"/>
                <a:gd name="T17" fmla="*/ 17 h 31"/>
                <a:gd name="T18" fmla="*/ 0 w 14"/>
                <a:gd name="T19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31">
                  <a:moveTo>
                    <a:pt x="0" y="18"/>
                  </a:moveTo>
                  <a:cubicBezTo>
                    <a:pt x="0" y="18"/>
                    <a:pt x="0" y="19"/>
                    <a:pt x="0" y="19"/>
                  </a:cubicBezTo>
                  <a:cubicBezTo>
                    <a:pt x="0" y="24"/>
                    <a:pt x="13" y="31"/>
                    <a:pt x="13" y="31"/>
                  </a:cubicBezTo>
                  <a:cubicBezTo>
                    <a:pt x="13" y="30"/>
                    <a:pt x="13" y="29"/>
                    <a:pt x="13" y="29"/>
                  </a:cubicBezTo>
                  <a:cubicBezTo>
                    <a:pt x="13" y="29"/>
                    <a:pt x="13" y="28"/>
                    <a:pt x="13" y="28"/>
                  </a:cubicBezTo>
                  <a:cubicBezTo>
                    <a:pt x="13" y="28"/>
                    <a:pt x="13" y="27"/>
                    <a:pt x="13" y="27"/>
                  </a:cubicBezTo>
                  <a:cubicBezTo>
                    <a:pt x="13" y="23"/>
                    <a:pt x="14" y="21"/>
                    <a:pt x="14" y="16"/>
                  </a:cubicBezTo>
                  <a:cubicBezTo>
                    <a:pt x="12" y="10"/>
                    <a:pt x="3" y="0"/>
                    <a:pt x="3" y="0"/>
                  </a:cubicBezTo>
                  <a:cubicBezTo>
                    <a:pt x="2" y="6"/>
                    <a:pt x="0" y="10"/>
                    <a:pt x="0" y="17"/>
                  </a:cubicBezTo>
                  <a:cubicBezTo>
                    <a:pt x="0" y="18"/>
                    <a:pt x="0" y="18"/>
                    <a:pt x="0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6841936A-6E39-4A8E-AF1C-134CA40377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4950" y="1819275"/>
              <a:ext cx="136525" cy="130175"/>
            </a:xfrm>
            <a:custGeom>
              <a:avLst/>
              <a:gdLst>
                <a:gd name="T0" fmla="*/ 16 w 22"/>
                <a:gd name="T1" fmla="*/ 8 h 21"/>
                <a:gd name="T2" fmla="*/ 0 w 22"/>
                <a:gd name="T3" fmla="*/ 0 h 21"/>
                <a:gd name="T4" fmla="*/ 1 w 22"/>
                <a:gd name="T5" fmla="*/ 1 h 21"/>
                <a:gd name="T6" fmla="*/ 1 w 22"/>
                <a:gd name="T7" fmla="*/ 1 h 21"/>
                <a:gd name="T8" fmla="*/ 5 w 22"/>
                <a:gd name="T9" fmla="*/ 16 h 21"/>
                <a:gd name="T10" fmla="*/ 22 w 22"/>
                <a:gd name="T11" fmla="*/ 21 h 21"/>
                <a:gd name="T12" fmla="*/ 21 w 22"/>
                <a:gd name="T13" fmla="*/ 18 h 21"/>
                <a:gd name="T14" fmla="*/ 16 w 22"/>
                <a:gd name="T15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6" y="8"/>
                  </a:moveTo>
                  <a:cubicBezTo>
                    <a:pt x="14" y="3"/>
                    <a:pt x="0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7"/>
                    <a:pt x="2" y="10"/>
                    <a:pt x="5" y="16"/>
                  </a:cubicBezTo>
                  <a:cubicBezTo>
                    <a:pt x="7" y="20"/>
                    <a:pt x="22" y="21"/>
                    <a:pt x="22" y="21"/>
                  </a:cubicBezTo>
                  <a:cubicBezTo>
                    <a:pt x="22" y="20"/>
                    <a:pt x="21" y="19"/>
                    <a:pt x="21" y="18"/>
                  </a:cubicBezTo>
                  <a:cubicBezTo>
                    <a:pt x="19" y="15"/>
                    <a:pt x="18" y="12"/>
                    <a:pt x="1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E60E67C4-EDDF-4E69-A008-57C68096B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5125" y="1770063"/>
              <a:ext cx="80963" cy="166688"/>
            </a:xfrm>
            <a:custGeom>
              <a:avLst/>
              <a:gdLst>
                <a:gd name="T0" fmla="*/ 0 w 13"/>
                <a:gd name="T1" fmla="*/ 13 h 27"/>
                <a:gd name="T2" fmla="*/ 0 w 13"/>
                <a:gd name="T3" fmla="*/ 13 h 27"/>
                <a:gd name="T4" fmla="*/ 0 w 13"/>
                <a:gd name="T5" fmla="*/ 13 h 27"/>
                <a:gd name="T6" fmla="*/ 0 w 13"/>
                <a:gd name="T7" fmla="*/ 13 h 27"/>
                <a:gd name="T8" fmla="*/ 0 w 13"/>
                <a:gd name="T9" fmla="*/ 13 h 27"/>
                <a:gd name="T10" fmla="*/ 0 w 13"/>
                <a:gd name="T11" fmla="*/ 13 h 27"/>
                <a:gd name="T12" fmla="*/ 6 w 13"/>
                <a:gd name="T13" fmla="*/ 27 h 27"/>
                <a:gd name="T14" fmla="*/ 13 w 13"/>
                <a:gd name="T15" fmla="*/ 11 h 27"/>
                <a:gd name="T16" fmla="*/ 13 w 13"/>
                <a:gd name="T17" fmla="*/ 10 h 27"/>
                <a:gd name="T18" fmla="*/ 10 w 13"/>
                <a:gd name="T19" fmla="*/ 0 h 27"/>
                <a:gd name="T20" fmla="*/ 0 w 13"/>
                <a:gd name="T2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27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20"/>
                    <a:pt x="4" y="23"/>
                    <a:pt x="6" y="27"/>
                  </a:cubicBezTo>
                  <a:cubicBezTo>
                    <a:pt x="6" y="27"/>
                    <a:pt x="12" y="18"/>
                    <a:pt x="13" y="11"/>
                  </a:cubicBezTo>
                  <a:cubicBezTo>
                    <a:pt x="13" y="11"/>
                    <a:pt x="13" y="10"/>
                    <a:pt x="13" y="10"/>
                  </a:cubicBezTo>
                  <a:cubicBezTo>
                    <a:pt x="13" y="5"/>
                    <a:pt x="11" y="4"/>
                    <a:pt x="10" y="0"/>
                  </a:cubicBezTo>
                  <a:cubicBezTo>
                    <a:pt x="10" y="0"/>
                    <a:pt x="0" y="7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5C974071-2DF7-499F-BEA1-A900C5CD70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8613" y="1646238"/>
              <a:ext cx="85725" cy="160338"/>
            </a:xfrm>
            <a:custGeom>
              <a:avLst/>
              <a:gdLst>
                <a:gd name="T0" fmla="*/ 14 w 14"/>
                <a:gd name="T1" fmla="*/ 1 h 26"/>
                <a:gd name="T2" fmla="*/ 14 w 14"/>
                <a:gd name="T3" fmla="*/ 0 h 26"/>
                <a:gd name="T4" fmla="*/ 13 w 14"/>
                <a:gd name="T5" fmla="*/ 0 h 26"/>
                <a:gd name="T6" fmla="*/ 0 w 14"/>
                <a:gd name="T7" fmla="*/ 11 h 26"/>
                <a:gd name="T8" fmla="*/ 0 w 14"/>
                <a:gd name="T9" fmla="*/ 13 h 26"/>
                <a:gd name="T10" fmla="*/ 4 w 14"/>
                <a:gd name="T11" fmla="*/ 26 h 26"/>
                <a:gd name="T12" fmla="*/ 14 w 14"/>
                <a:gd name="T13" fmla="*/ 11 h 26"/>
                <a:gd name="T14" fmla="*/ 14 w 14"/>
                <a:gd name="T15" fmla="*/ 11 h 26"/>
                <a:gd name="T16" fmla="*/ 14 w 14"/>
                <a:gd name="T17" fmla="*/ 11 h 26"/>
                <a:gd name="T18" fmla="*/ 14 w 14"/>
                <a:gd name="T19" fmla="*/ 11 h 26"/>
                <a:gd name="T20" fmla="*/ 14 w 14"/>
                <a:gd name="T21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26">
                  <a:moveTo>
                    <a:pt x="14" y="1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1" y="1"/>
                    <a:pt x="1" y="6"/>
                    <a:pt x="0" y="11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8"/>
                    <a:pt x="2" y="21"/>
                    <a:pt x="4" y="26"/>
                  </a:cubicBezTo>
                  <a:cubicBezTo>
                    <a:pt x="4" y="26"/>
                    <a:pt x="14" y="16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7"/>
                    <a:pt x="14" y="4"/>
                    <a:pt x="1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7FC1A82C-1373-4F5B-8CC0-CFB797B09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263" y="1533525"/>
              <a:ext cx="104775" cy="130175"/>
            </a:xfrm>
            <a:custGeom>
              <a:avLst/>
              <a:gdLst>
                <a:gd name="T0" fmla="*/ 17 w 17"/>
                <a:gd name="T1" fmla="*/ 0 h 21"/>
                <a:gd name="T2" fmla="*/ 2 w 17"/>
                <a:gd name="T3" fmla="*/ 6 h 21"/>
                <a:gd name="T4" fmla="*/ 1 w 17"/>
                <a:gd name="T5" fmla="*/ 17 h 21"/>
                <a:gd name="T6" fmla="*/ 1 w 17"/>
                <a:gd name="T7" fmla="*/ 18 h 21"/>
                <a:gd name="T8" fmla="*/ 1 w 17"/>
                <a:gd name="T9" fmla="*/ 19 h 21"/>
                <a:gd name="T10" fmla="*/ 1 w 17"/>
                <a:gd name="T11" fmla="*/ 21 h 21"/>
                <a:gd name="T12" fmla="*/ 15 w 17"/>
                <a:gd name="T13" fmla="*/ 10 h 21"/>
                <a:gd name="T14" fmla="*/ 16 w 17"/>
                <a:gd name="T15" fmla="*/ 6 h 21"/>
                <a:gd name="T16" fmla="*/ 16 w 17"/>
                <a:gd name="T17" fmla="*/ 6 h 21"/>
                <a:gd name="T18" fmla="*/ 16 w 17"/>
                <a:gd name="T19" fmla="*/ 6 h 21"/>
                <a:gd name="T20" fmla="*/ 17 w 17"/>
                <a:gd name="T2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21">
                  <a:moveTo>
                    <a:pt x="17" y="0"/>
                  </a:moveTo>
                  <a:cubicBezTo>
                    <a:pt x="17" y="0"/>
                    <a:pt x="4" y="2"/>
                    <a:pt x="2" y="6"/>
                  </a:cubicBezTo>
                  <a:cubicBezTo>
                    <a:pt x="0" y="10"/>
                    <a:pt x="1" y="13"/>
                    <a:pt x="1" y="17"/>
                  </a:cubicBezTo>
                  <a:cubicBezTo>
                    <a:pt x="1" y="17"/>
                    <a:pt x="1" y="19"/>
                    <a:pt x="1" y="18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20"/>
                    <a:pt x="1" y="20"/>
                    <a:pt x="1" y="21"/>
                  </a:cubicBezTo>
                  <a:cubicBezTo>
                    <a:pt x="1" y="21"/>
                    <a:pt x="13" y="14"/>
                    <a:pt x="15" y="10"/>
                  </a:cubicBezTo>
                  <a:cubicBezTo>
                    <a:pt x="16" y="8"/>
                    <a:pt x="16" y="7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3"/>
                    <a:pt x="16" y="2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D8C1E1F1-DC89-46C5-9210-835B5A0D6B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0525" y="1309688"/>
              <a:ext cx="141288" cy="87313"/>
            </a:xfrm>
            <a:custGeom>
              <a:avLst/>
              <a:gdLst>
                <a:gd name="T0" fmla="*/ 22 w 23"/>
                <a:gd name="T1" fmla="*/ 1 h 14"/>
                <a:gd name="T2" fmla="*/ 6 w 23"/>
                <a:gd name="T3" fmla="*/ 2 h 14"/>
                <a:gd name="T4" fmla="*/ 1 w 23"/>
                <a:gd name="T5" fmla="*/ 11 h 14"/>
                <a:gd name="T6" fmla="*/ 0 w 23"/>
                <a:gd name="T7" fmla="*/ 14 h 14"/>
                <a:gd name="T8" fmla="*/ 16 w 23"/>
                <a:gd name="T9" fmla="*/ 11 h 14"/>
                <a:gd name="T10" fmla="*/ 23 w 23"/>
                <a:gd name="T11" fmla="*/ 1 h 14"/>
                <a:gd name="T12" fmla="*/ 22 w 23"/>
                <a:gd name="T1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4">
                  <a:moveTo>
                    <a:pt x="22" y="1"/>
                  </a:moveTo>
                  <a:cubicBezTo>
                    <a:pt x="18" y="1"/>
                    <a:pt x="8" y="0"/>
                    <a:pt x="6" y="2"/>
                  </a:cubicBezTo>
                  <a:cubicBezTo>
                    <a:pt x="3" y="6"/>
                    <a:pt x="1" y="11"/>
                    <a:pt x="1" y="11"/>
                  </a:cubicBezTo>
                  <a:cubicBezTo>
                    <a:pt x="0" y="12"/>
                    <a:pt x="0" y="13"/>
                    <a:pt x="0" y="14"/>
                  </a:cubicBezTo>
                  <a:cubicBezTo>
                    <a:pt x="0" y="14"/>
                    <a:pt x="13" y="14"/>
                    <a:pt x="16" y="11"/>
                  </a:cubicBezTo>
                  <a:cubicBezTo>
                    <a:pt x="20" y="7"/>
                    <a:pt x="21" y="4"/>
                    <a:pt x="23" y="1"/>
                  </a:cubicBezTo>
                  <a:cubicBezTo>
                    <a:pt x="23" y="1"/>
                    <a:pt x="23" y="1"/>
                    <a:pt x="2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15">
              <a:extLst>
                <a:ext uri="{FF2B5EF4-FFF2-40B4-BE49-F238E27FC236}">
                  <a16:creationId xmlns:a16="http://schemas.microsoft.com/office/drawing/2014/main" id="{E318DE15-04C6-4C35-8537-B57813BB6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725" y="1416050"/>
              <a:ext cx="123825" cy="104775"/>
            </a:xfrm>
            <a:custGeom>
              <a:avLst/>
              <a:gdLst>
                <a:gd name="T0" fmla="*/ 20 w 20"/>
                <a:gd name="T1" fmla="*/ 1 h 17"/>
                <a:gd name="T2" fmla="*/ 5 w 20"/>
                <a:gd name="T3" fmla="*/ 3 h 17"/>
                <a:gd name="T4" fmla="*/ 1 w 20"/>
                <a:gd name="T5" fmla="*/ 15 h 17"/>
                <a:gd name="T6" fmla="*/ 0 w 20"/>
                <a:gd name="T7" fmla="*/ 17 h 17"/>
                <a:gd name="T8" fmla="*/ 16 w 20"/>
                <a:gd name="T9" fmla="*/ 10 h 17"/>
                <a:gd name="T10" fmla="*/ 20 w 20"/>
                <a:gd name="T11" fmla="*/ 2 h 17"/>
                <a:gd name="T12" fmla="*/ 20 w 20"/>
                <a:gd name="T13" fmla="*/ 2 h 17"/>
                <a:gd name="T14" fmla="*/ 20 w 20"/>
                <a:gd name="T15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7">
                  <a:moveTo>
                    <a:pt x="20" y="1"/>
                  </a:moveTo>
                  <a:cubicBezTo>
                    <a:pt x="20" y="1"/>
                    <a:pt x="8" y="0"/>
                    <a:pt x="5" y="3"/>
                  </a:cubicBezTo>
                  <a:cubicBezTo>
                    <a:pt x="2" y="7"/>
                    <a:pt x="2" y="11"/>
                    <a:pt x="1" y="15"/>
                  </a:cubicBezTo>
                  <a:cubicBezTo>
                    <a:pt x="1" y="16"/>
                    <a:pt x="1" y="17"/>
                    <a:pt x="0" y="17"/>
                  </a:cubicBezTo>
                  <a:cubicBezTo>
                    <a:pt x="0" y="17"/>
                    <a:pt x="13" y="15"/>
                    <a:pt x="16" y="10"/>
                  </a:cubicBezTo>
                  <a:cubicBezTo>
                    <a:pt x="18" y="7"/>
                    <a:pt x="19" y="5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20" y="1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16">
              <a:extLst>
                <a:ext uri="{FF2B5EF4-FFF2-40B4-BE49-F238E27FC236}">
                  <a16:creationId xmlns:a16="http://schemas.microsoft.com/office/drawing/2014/main" id="{EAAABED8-884B-4EB8-8B51-E433509476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650" y="1322388"/>
              <a:ext cx="98425" cy="192088"/>
            </a:xfrm>
            <a:custGeom>
              <a:avLst/>
              <a:gdLst>
                <a:gd name="T0" fmla="*/ 10 w 16"/>
                <a:gd name="T1" fmla="*/ 31 h 31"/>
                <a:gd name="T2" fmla="*/ 11 w 16"/>
                <a:gd name="T3" fmla="*/ 29 h 31"/>
                <a:gd name="T4" fmla="*/ 11 w 16"/>
                <a:gd name="T5" fmla="*/ 29 h 31"/>
                <a:gd name="T6" fmla="*/ 14 w 16"/>
                <a:gd name="T7" fmla="*/ 19 h 31"/>
                <a:gd name="T8" fmla="*/ 8 w 16"/>
                <a:gd name="T9" fmla="*/ 0 h 31"/>
                <a:gd name="T10" fmla="*/ 1 w 16"/>
                <a:gd name="T11" fmla="*/ 16 h 31"/>
                <a:gd name="T12" fmla="*/ 1 w 16"/>
                <a:gd name="T13" fmla="*/ 16 h 31"/>
                <a:gd name="T14" fmla="*/ 1 w 16"/>
                <a:gd name="T15" fmla="*/ 16 h 31"/>
                <a:gd name="T16" fmla="*/ 10 w 16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31">
                  <a:moveTo>
                    <a:pt x="10" y="31"/>
                  </a:moveTo>
                  <a:cubicBezTo>
                    <a:pt x="11" y="30"/>
                    <a:pt x="11" y="30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2" y="26"/>
                    <a:pt x="13" y="23"/>
                    <a:pt x="14" y="19"/>
                  </a:cubicBezTo>
                  <a:cubicBezTo>
                    <a:pt x="16" y="12"/>
                    <a:pt x="8" y="0"/>
                    <a:pt x="8" y="0"/>
                  </a:cubicBezTo>
                  <a:cubicBezTo>
                    <a:pt x="5" y="6"/>
                    <a:pt x="2" y="8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0" y="23"/>
                    <a:pt x="10" y="31"/>
                    <a:pt x="10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17">
              <a:extLst>
                <a:ext uri="{FF2B5EF4-FFF2-40B4-BE49-F238E27FC236}">
                  <a16:creationId xmlns:a16="http://schemas.microsoft.com/office/drawing/2014/main" id="{C5949DEB-55AF-42DA-A4DA-5790FEBD88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900" y="1646238"/>
              <a:ext cx="100013" cy="166688"/>
            </a:xfrm>
            <a:custGeom>
              <a:avLst/>
              <a:gdLst>
                <a:gd name="T0" fmla="*/ 16 w 16"/>
                <a:gd name="T1" fmla="*/ 24 h 27"/>
                <a:gd name="T2" fmla="*/ 14 w 16"/>
                <a:gd name="T3" fmla="*/ 12 h 27"/>
                <a:gd name="T4" fmla="*/ 0 w 16"/>
                <a:gd name="T5" fmla="*/ 0 h 27"/>
                <a:gd name="T6" fmla="*/ 0 w 16"/>
                <a:gd name="T7" fmla="*/ 0 h 27"/>
                <a:gd name="T8" fmla="*/ 0 w 16"/>
                <a:gd name="T9" fmla="*/ 1 h 27"/>
                <a:gd name="T10" fmla="*/ 0 w 16"/>
                <a:gd name="T11" fmla="*/ 8 h 27"/>
                <a:gd name="T12" fmla="*/ 0 w 16"/>
                <a:gd name="T13" fmla="*/ 8 h 27"/>
                <a:gd name="T14" fmla="*/ 1 w 16"/>
                <a:gd name="T15" fmla="*/ 19 h 27"/>
                <a:gd name="T16" fmla="*/ 16 w 16"/>
                <a:gd name="T17" fmla="*/ 27 h 27"/>
                <a:gd name="T18" fmla="*/ 16 w 16"/>
                <a:gd name="T19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27">
                  <a:moveTo>
                    <a:pt x="16" y="24"/>
                  </a:moveTo>
                  <a:cubicBezTo>
                    <a:pt x="15" y="20"/>
                    <a:pt x="14" y="17"/>
                    <a:pt x="14" y="12"/>
                  </a:cubicBezTo>
                  <a:cubicBezTo>
                    <a:pt x="13" y="7"/>
                    <a:pt x="2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3"/>
                    <a:pt x="0" y="6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2"/>
                    <a:pt x="0" y="15"/>
                    <a:pt x="1" y="19"/>
                  </a:cubicBezTo>
                  <a:cubicBezTo>
                    <a:pt x="2" y="22"/>
                    <a:pt x="7" y="25"/>
                    <a:pt x="16" y="27"/>
                  </a:cubicBezTo>
                  <a:cubicBezTo>
                    <a:pt x="16" y="26"/>
                    <a:pt x="16" y="25"/>
                    <a:pt x="1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18">
              <a:extLst>
                <a:ext uri="{FF2B5EF4-FFF2-40B4-BE49-F238E27FC236}">
                  <a16:creationId xmlns:a16="http://schemas.microsoft.com/office/drawing/2014/main" id="{D6B6B644-0D12-405A-AA21-31207155E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2250" y="1322388"/>
              <a:ext cx="98425" cy="192088"/>
            </a:xfrm>
            <a:custGeom>
              <a:avLst/>
              <a:gdLst>
                <a:gd name="T0" fmla="*/ 1 w 16"/>
                <a:gd name="T1" fmla="*/ 19 h 31"/>
                <a:gd name="T2" fmla="*/ 4 w 16"/>
                <a:gd name="T3" fmla="*/ 29 h 31"/>
                <a:gd name="T4" fmla="*/ 4 w 16"/>
                <a:gd name="T5" fmla="*/ 29 h 31"/>
                <a:gd name="T6" fmla="*/ 5 w 16"/>
                <a:gd name="T7" fmla="*/ 31 h 31"/>
                <a:gd name="T8" fmla="*/ 15 w 16"/>
                <a:gd name="T9" fmla="*/ 16 h 31"/>
                <a:gd name="T10" fmla="*/ 15 w 16"/>
                <a:gd name="T11" fmla="*/ 16 h 31"/>
                <a:gd name="T12" fmla="*/ 15 w 16"/>
                <a:gd name="T13" fmla="*/ 16 h 31"/>
                <a:gd name="T14" fmla="*/ 8 w 16"/>
                <a:gd name="T15" fmla="*/ 0 h 31"/>
                <a:gd name="T16" fmla="*/ 1 w 16"/>
                <a:gd name="T17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31">
                  <a:moveTo>
                    <a:pt x="1" y="19"/>
                  </a:moveTo>
                  <a:cubicBezTo>
                    <a:pt x="3" y="23"/>
                    <a:pt x="4" y="26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5" y="30"/>
                    <a:pt x="5" y="31"/>
                  </a:cubicBezTo>
                  <a:cubicBezTo>
                    <a:pt x="5" y="31"/>
                    <a:pt x="16" y="23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3" y="8"/>
                    <a:pt x="11" y="6"/>
                    <a:pt x="8" y="0"/>
                  </a:cubicBezTo>
                  <a:cubicBezTo>
                    <a:pt x="8" y="0"/>
                    <a:pt x="0" y="12"/>
                    <a:pt x="1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19">
              <a:extLst>
                <a:ext uri="{FF2B5EF4-FFF2-40B4-BE49-F238E27FC236}">
                  <a16:creationId xmlns:a16="http://schemas.microsoft.com/office/drawing/2014/main" id="{B9956C94-BE9A-439C-8E31-92ED3BCD4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8763" y="1471613"/>
              <a:ext cx="87313" cy="192088"/>
            </a:xfrm>
            <a:custGeom>
              <a:avLst/>
              <a:gdLst>
                <a:gd name="T0" fmla="*/ 1 w 14"/>
                <a:gd name="T1" fmla="*/ 27 h 31"/>
                <a:gd name="T2" fmla="*/ 1 w 14"/>
                <a:gd name="T3" fmla="*/ 28 h 31"/>
                <a:gd name="T4" fmla="*/ 1 w 14"/>
                <a:gd name="T5" fmla="*/ 29 h 31"/>
                <a:gd name="T6" fmla="*/ 1 w 14"/>
                <a:gd name="T7" fmla="*/ 31 h 31"/>
                <a:gd name="T8" fmla="*/ 14 w 14"/>
                <a:gd name="T9" fmla="*/ 19 h 31"/>
                <a:gd name="T10" fmla="*/ 14 w 14"/>
                <a:gd name="T11" fmla="*/ 18 h 31"/>
                <a:gd name="T12" fmla="*/ 14 w 14"/>
                <a:gd name="T13" fmla="*/ 17 h 31"/>
                <a:gd name="T14" fmla="*/ 11 w 14"/>
                <a:gd name="T15" fmla="*/ 0 h 31"/>
                <a:gd name="T16" fmla="*/ 1 w 14"/>
                <a:gd name="T17" fmla="*/ 16 h 31"/>
                <a:gd name="T18" fmla="*/ 1 w 14"/>
                <a:gd name="T19" fmla="*/ 2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31">
                  <a:moveTo>
                    <a:pt x="1" y="27"/>
                  </a:moveTo>
                  <a:cubicBezTo>
                    <a:pt x="1" y="27"/>
                    <a:pt x="1" y="28"/>
                    <a:pt x="1" y="28"/>
                  </a:cubicBezTo>
                  <a:cubicBezTo>
                    <a:pt x="1" y="28"/>
                    <a:pt x="1" y="29"/>
                    <a:pt x="1" y="29"/>
                  </a:cubicBezTo>
                  <a:cubicBezTo>
                    <a:pt x="1" y="29"/>
                    <a:pt x="1" y="30"/>
                    <a:pt x="1" y="31"/>
                  </a:cubicBezTo>
                  <a:cubicBezTo>
                    <a:pt x="1" y="31"/>
                    <a:pt x="14" y="24"/>
                    <a:pt x="14" y="19"/>
                  </a:cubicBezTo>
                  <a:cubicBezTo>
                    <a:pt x="14" y="19"/>
                    <a:pt x="14" y="18"/>
                    <a:pt x="14" y="18"/>
                  </a:cubicBezTo>
                  <a:cubicBezTo>
                    <a:pt x="14" y="18"/>
                    <a:pt x="14" y="18"/>
                    <a:pt x="14" y="17"/>
                  </a:cubicBezTo>
                  <a:cubicBezTo>
                    <a:pt x="14" y="10"/>
                    <a:pt x="13" y="6"/>
                    <a:pt x="11" y="0"/>
                  </a:cubicBezTo>
                  <a:cubicBezTo>
                    <a:pt x="11" y="0"/>
                    <a:pt x="2" y="10"/>
                    <a:pt x="1" y="16"/>
                  </a:cubicBezTo>
                  <a:cubicBezTo>
                    <a:pt x="0" y="21"/>
                    <a:pt x="1" y="23"/>
                    <a:pt x="1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20">
              <a:extLst>
                <a:ext uri="{FF2B5EF4-FFF2-40B4-BE49-F238E27FC236}">
                  <a16:creationId xmlns:a16="http://schemas.microsoft.com/office/drawing/2014/main" id="{AD83220A-A960-4962-AC15-E320413DA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6063" y="1646238"/>
              <a:ext cx="106363" cy="166688"/>
            </a:xfrm>
            <a:custGeom>
              <a:avLst/>
              <a:gdLst>
                <a:gd name="T0" fmla="*/ 17 w 17"/>
                <a:gd name="T1" fmla="*/ 1 h 27"/>
                <a:gd name="T2" fmla="*/ 17 w 17"/>
                <a:gd name="T3" fmla="*/ 0 h 27"/>
                <a:gd name="T4" fmla="*/ 16 w 17"/>
                <a:gd name="T5" fmla="*/ 0 h 27"/>
                <a:gd name="T6" fmla="*/ 3 w 17"/>
                <a:gd name="T7" fmla="*/ 12 h 27"/>
                <a:gd name="T8" fmla="*/ 1 w 17"/>
                <a:gd name="T9" fmla="*/ 24 h 27"/>
                <a:gd name="T10" fmla="*/ 0 w 17"/>
                <a:gd name="T11" fmla="*/ 27 h 27"/>
                <a:gd name="T12" fmla="*/ 15 w 17"/>
                <a:gd name="T13" fmla="*/ 19 h 27"/>
                <a:gd name="T14" fmla="*/ 17 w 17"/>
                <a:gd name="T15" fmla="*/ 8 h 27"/>
                <a:gd name="T16" fmla="*/ 17 w 17"/>
                <a:gd name="T17" fmla="*/ 8 h 27"/>
                <a:gd name="T18" fmla="*/ 17 w 17"/>
                <a:gd name="T19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7">
                  <a:moveTo>
                    <a:pt x="17" y="1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4" y="1"/>
                    <a:pt x="3" y="7"/>
                    <a:pt x="3" y="12"/>
                  </a:cubicBezTo>
                  <a:cubicBezTo>
                    <a:pt x="2" y="17"/>
                    <a:pt x="2" y="20"/>
                    <a:pt x="1" y="24"/>
                  </a:cubicBezTo>
                  <a:cubicBezTo>
                    <a:pt x="0" y="25"/>
                    <a:pt x="0" y="26"/>
                    <a:pt x="0" y="27"/>
                  </a:cubicBezTo>
                  <a:cubicBezTo>
                    <a:pt x="9" y="25"/>
                    <a:pt x="14" y="22"/>
                    <a:pt x="15" y="19"/>
                  </a:cubicBezTo>
                  <a:cubicBezTo>
                    <a:pt x="16" y="15"/>
                    <a:pt x="16" y="12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6"/>
                    <a:pt x="17" y="3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21">
              <a:extLst>
                <a:ext uri="{FF2B5EF4-FFF2-40B4-BE49-F238E27FC236}">
                  <a16:creationId xmlns:a16="http://schemas.microsoft.com/office/drawing/2014/main" id="{0008EB2C-323E-4201-AD29-CEED2F7BC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0500" y="1819275"/>
              <a:ext cx="136525" cy="130175"/>
            </a:xfrm>
            <a:custGeom>
              <a:avLst/>
              <a:gdLst>
                <a:gd name="T0" fmla="*/ 6 w 22"/>
                <a:gd name="T1" fmla="*/ 8 h 21"/>
                <a:gd name="T2" fmla="*/ 1 w 22"/>
                <a:gd name="T3" fmla="*/ 18 h 21"/>
                <a:gd name="T4" fmla="*/ 0 w 22"/>
                <a:gd name="T5" fmla="*/ 21 h 21"/>
                <a:gd name="T6" fmla="*/ 17 w 22"/>
                <a:gd name="T7" fmla="*/ 16 h 21"/>
                <a:gd name="T8" fmla="*/ 22 w 22"/>
                <a:gd name="T9" fmla="*/ 1 h 21"/>
                <a:gd name="T10" fmla="*/ 22 w 22"/>
                <a:gd name="T11" fmla="*/ 1 h 21"/>
                <a:gd name="T12" fmla="*/ 22 w 22"/>
                <a:gd name="T13" fmla="*/ 0 h 21"/>
                <a:gd name="T14" fmla="*/ 6 w 22"/>
                <a:gd name="T15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6" y="8"/>
                  </a:moveTo>
                  <a:cubicBezTo>
                    <a:pt x="4" y="12"/>
                    <a:pt x="3" y="15"/>
                    <a:pt x="1" y="18"/>
                  </a:cubicBezTo>
                  <a:cubicBezTo>
                    <a:pt x="1" y="19"/>
                    <a:pt x="0" y="20"/>
                    <a:pt x="0" y="21"/>
                  </a:cubicBezTo>
                  <a:cubicBezTo>
                    <a:pt x="0" y="21"/>
                    <a:pt x="15" y="20"/>
                    <a:pt x="17" y="16"/>
                  </a:cubicBezTo>
                  <a:cubicBezTo>
                    <a:pt x="20" y="10"/>
                    <a:pt x="21" y="7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0"/>
                    <a:pt x="22" y="0"/>
                  </a:cubicBezTo>
                  <a:cubicBezTo>
                    <a:pt x="22" y="0"/>
                    <a:pt x="8" y="3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22">
              <a:extLst>
                <a:ext uri="{FF2B5EF4-FFF2-40B4-BE49-F238E27FC236}">
                  <a16:creationId xmlns:a16="http://schemas.microsoft.com/office/drawing/2014/main" id="{85428A9C-BE8A-42EF-BDE2-6FEB96E41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7638" y="1646238"/>
              <a:ext cx="87313" cy="160338"/>
            </a:xfrm>
            <a:custGeom>
              <a:avLst/>
              <a:gdLst>
                <a:gd name="T0" fmla="*/ 0 w 14"/>
                <a:gd name="T1" fmla="*/ 11 h 26"/>
                <a:gd name="T2" fmla="*/ 11 w 14"/>
                <a:gd name="T3" fmla="*/ 26 h 26"/>
                <a:gd name="T4" fmla="*/ 14 w 14"/>
                <a:gd name="T5" fmla="*/ 13 h 26"/>
                <a:gd name="T6" fmla="*/ 14 w 14"/>
                <a:gd name="T7" fmla="*/ 11 h 26"/>
                <a:gd name="T8" fmla="*/ 1 w 14"/>
                <a:gd name="T9" fmla="*/ 0 h 26"/>
                <a:gd name="T10" fmla="*/ 1 w 14"/>
                <a:gd name="T11" fmla="*/ 0 h 26"/>
                <a:gd name="T12" fmla="*/ 1 w 14"/>
                <a:gd name="T13" fmla="*/ 1 h 26"/>
                <a:gd name="T14" fmla="*/ 0 w 14"/>
                <a:gd name="T15" fmla="*/ 11 h 26"/>
                <a:gd name="T16" fmla="*/ 0 w 14"/>
                <a:gd name="T17" fmla="*/ 11 h 26"/>
                <a:gd name="T18" fmla="*/ 0 w 14"/>
                <a:gd name="T19" fmla="*/ 11 h 26"/>
                <a:gd name="T20" fmla="*/ 0 w 14"/>
                <a:gd name="T21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26">
                  <a:moveTo>
                    <a:pt x="0" y="11"/>
                  </a:moveTo>
                  <a:cubicBezTo>
                    <a:pt x="0" y="16"/>
                    <a:pt x="11" y="26"/>
                    <a:pt x="11" y="26"/>
                  </a:cubicBezTo>
                  <a:cubicBezTo>
                    <a:pt x="12" y="21"/>
                    <a:pt x="14" y="18"/>
                    <a:pt x="14" y="13"/>
                  </a:cubicBezTo>
                  <a:cubicBezTo>
                    <a:pt x="14" y="13"/>
                    <a:pt x="14" y="12"/>
                    <a:pt x="14" y="11"/>
                  </a:cubicBezTo>
                  <a:cubicBezTo>
                    <a:pt x="13" y="6"/>
                    <a:pt x="3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4"/>
                    <a:pt x="0" y="7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23">
              <a:extLst>
                <a:ext uri="{FF2B5EF4-FFF2-40B4-BE49-F238E27FC236}">
                  <a16:creationId xmlns:a16="http://schemas.microsoft.com/office/drawing/2014/main" id="{9F5F0C82-9B8A-4F7C-907D-1214E166A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1288" y="1533525"/>
              <a:ext cx="98425" cy="130175"/>
            </a:xfrm>
            <a:custGeom>
              <a:avLst/>
              <a:gdLst>
                <a:gd name="T0" fmla="*/ 14 w 16"/>
                <a:gd name="T1" fmla="*/ 6 h 21"/>
                <a:gd name="T2" fmla="*/ 0 w 16"/>
                <a:gd name="T3" fmla="*/ 0 h 21"/>
                <a:gd name="T4" fmla="*/ 0 w 16"/>
                <a:gd name="T5" fmla="*/ 6 h 21"/>
                <a:gd name="T6" fmla="*/ 0 w 16"/>
                <a:gd name="T7" fmla="*/ 6 h 21"/>
                <a:gd name="T8" fmla="*/ 0 w 16"/>
                <a:gd name="T9" fmla="*/ 6 h 21"/>
                <a:gd name="T10" fmla="*/ 1 w 16"/>
                <a:gd name="T11" fmla="*/ 10 h 21"/>
                <a:gd name="T12" fmla="*/ 15 w 16"/>
                <a:gd name="T13" fmla="*/ 21 h 21"/>
                <a:gd name="T14" fmla="*/ 15 w 16"/>
                <a:gd name="T15" fmla="*/ 19 h 21"/>
                <a:gd name="T16" fmla="*/ 15 w 16"/>
                <a:gd name="T17" fmla="*/ 18 h 21"/>
                <a:gd name="T18" fmla="*/ 15 w 16"/>
                <a:gd name="T19" fmla="*/ 17 h 21"/>
                <a:gd name="T20" fmla="*/ 14 w 16"/>
                <a:gd name="T21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1">
                  <a:moveTo>
                    <a:pt x="14" y="6"/>
                  </a:moveTo>
                  <a:cubicBezTo>
                    <a:pt x="12" y="2"/>
                    <a:pt x="0" y="0"/>
                    <a:pt x="0" y="0"/>
                  </a:cubicBezTo>
                  <a:cubicBezTo>
                    <a:pt x="0" y="2"/>
                    <a:pt x="0" y="3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1" y="8"/>
                    <a:pt x="1" y="10"/>
                  </a:cubicBezTo>
                  <a:cubicBezTo>
                    <a:pt x="3" y="14"/>
                    <a:pt x="15" y="21"/>
                    <a:pt x="15" y="21"/>
                  </a:cubicBezTo>
                  <a:cubicBezTo>
                    <a:pt x="15" y="20"/>
                    <a:pt x="15" y="20"/>
                    <a:pt x="15" y="19"/>
                  </a:cubicBezTo>
                  <a:cubicBezTo>
                    <a:pt x="15" y="19"/>
                    <a:pt x="15" y="19"/>
                    <a:pt x="15" y="18"/>
                  </a:cubicBezTo>
                  <a:cubicBezTo>
                    <a:pt x="15" y="19"/>
                    <a:pt x="15" y="17"/>
                    <a:pt x="15" y="17"/>
                  </a:cubicBezTo>
                  <a:cubicBezTo>
                    <a:pt x="15" y="13"/>
                    <a:pt x="16" y="10"/>
                    <a:pt x="1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24">
              <a:extLst>
                <a:ext uri="{FF2B5EF4-FFF2-40B4-BE49-F238E27FC236}">
                  <a16:creationId xmlns:a16="http://schemas.microsoft.com/office/drawing/2014/main" id="{7C832B43-53A2-4E90-8845-5A082B6A3C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8425" y="1416050"/>
              <a:ext cx="123825" cy="104775"/>
            </a:xfrm>
            <a:custGeom>
              <a:avLst/>
              <a:gdLst>
                <a:gd name="T0" fmla="*/ 1 w 20"/>
                <a:gd name="T1" fmla="*/ 2 h 17"/>
                <a:gd name="T2" fmla="*/ 4 w 20"/>
                <a:gd name="T3" fmla="*/ 10 h 17"/>
                <a:gd name="T4" fmla="*/ 20 w 20"/>
                <a:gd name="T5" fmla="*/ 17 h 17"/>
                <a:gd name="T6" fmla="*/ 19 w 20"/>
                <a:gd name="T7" fmla="*/ 15 h 17"/>
                <a:gd name="T8" fmla="*/ 16 w 20"/>
                <a:gd name="T9" fmla="*/ 3 h 17"/>
                <a:gd name="T10" fmla="*/ 0 w 20"/>
                <a:gd name="T11" fmla="*/ 1 h 17"/>
                <a:gd name="T12" fmla="*/ 1 w 20"/>
                <a:gd name="T13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7">
                  <a:moveTo>
                    <a:pt x="1" y="2"/>
                  </a:moveTo>
                  <a:cubicBezTo>
                    <a:pt x="2" y="5"/>
                    <a:pt x="2" y="7"/>
                    <a:pt x="4" y="10"/>
                  </a:cubicBezTo>
                  <a:cubicBezTo>
                    <a:pt x="7" y="15"/>
                    <a:pt x="20" y="17"/>
                    <a:pt x="20" y="17"/>
                  </a:cubicBezTo>
                  <a:cubicBezTo>
                    <a:pt x="20" y="17"/>
                    <a:pt x="20" y="16"/>
                    <a:pt x="19" y="15"/>
                  </a:cubicBezTo>
                  <a:cubicBezTo>
                    <a:pt x="19" y="11"/>
                    <a:pt x="18" y="7"/>
                    <a:pt x="16" y="3"/>
                  </a:cubicBezTo>
                  <a:cubicBezTo>
                    <a:pt x="13" y="0"/>
                    <a:pt x="0" y="1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25">
              <a:extLst>
                <a:ext uri="{FF2B5EF4-FFF2-40B4-BE49-F238E27FC236}">
                  <a16:creationId xmlns:a16="http://schemas.microsoft.com/office/drawing/2014/main" id="{47218DCA-2E43-4443-82DB-B56885E2F2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0163" y="1309688"/>
              <a:ext cx="147638" cy="87313"/>
            </a:xfrm>
            <a:custGeom>
              <a:avLst/>
              <a:gdLst>
                <a:gd name="T0" fmla="*/ 24 w 24"/>
                <a:gd name="T1" fmla="*/ 14 h 14"/>
                <a:gd name="T2" fmla="*/ 23 w 24"/>
                <a:gd name="T3" fmla="*/ 11 h 14"/>
                <a:gd name="T4" fmla="*/ 17 w 24"/>
                <a:gd name="T5" fmla="*/ 2 h 14"/>
                <a:gd name="T6" fmla="*/ 1 w 24"/>
                <a:gd name="T7" fmla="*/ 1 h 14"/>
                <a:gd name="T8" fmla="*/ 0 w 24"/>
                <a:gd name="T9" fmla="*/ 1 h 14"/>
                <a:gd name="T10" fmla="*/ 7 w 24"/>
                <a:gd name="T11" fmla="*/ 11 h 14"/>
                <a:gd name="T12" fmla="*/ 24 w 24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4">
                  <a:moveTo>
                    <a:pt x="24" y="14"/>
                  </a:moveTo>
                  <a:cubicBezTo>
                    <a:pt x="23" y="13"/>
                    <a:pt x="23" y="12"/>
                    <a:pt x="23" y="11"/>
                  </a:cubicBezTo>
                  <a:cubicBezTo>
                    <a:pt x="23" y="11"/>
                    <a:pt x="20" y="6"/>
                    <a:pt x="17" y="2"/>
                  </a:cubicBezTo>
                  <a:cubicBezTo>
                    <a:pt x="15" y="0"/>
                    <a:pt x="5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4"/>
                    <a:pt x="4" y="7"/>
                    <a:pt x="7" y="11"/>
                  </a:cubicBezTo>
                  <a:cubicBezTo>
                    <a:pt x="10" y="14"/>
                    <a:pt x="24" y="14"/>
                    <a:pt x="24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26">
              <a:extLst>
                <a:ext uri="{FF2B5EF4-FFF2-40B4-BE49-F238E27FC236}">
                  <a16:creationId xmlns:a16="http://schemas.microsoft.com/office/drawing/2014/main" id="{9CE8B80D-9CC5-4209-B6D9-0DF8DE4DF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5888" y="1770063"/>
              <a:ext cx="87313" cy="166688"/>
            </a:xfrm>
            <a:custGeom>
              <a:avLst/>
              <a:gdLst>
                <a:gd name="T0" fmla="*/ 13 w 14"/>
                <a:gd name="T1" fmla="*/ 13 h 27"/>
                <a:gd name="T2" fmla="*/ 13 w 14"/>
                <a:gd name="T3" fmla="*/ 13 h 27"/>
                <a:gd name="T4" fmla="*/ 13 w 14"/>
                <a:gd name="T5" fmla="*/ 13 h 27"/>
                <a:gd name="T6" fmla="*/ 13 w 14"/>
                <a:gd name="T7" fmla="*/ 13 h 27"/>
                <a:gd name="T8" fmla="*/ 13 w 14"/>
                <a:gd name="T9" fmla="*/ 13 h 27"/>
                <a:gd name="T10" fmla="*/ 4 w 14"/>
                <a:gd name="T11" fmla="*/ 0 h 27"/>
                <a:gd name="T12" fmla="*/ 0 w 14"/>
                <a:gd name="T13" fmla="*/ 10 h 27"/>
                <a:gd name="T14" fmla="*/ 0 w 14"/>
                <a:gd name="T15" fmla="*/ 11 h 27"/>
                <a:gd name="T16" fmla="*/ 7 w 14"/>
                <a:gd name="T17" fmla="*/ 27 h 27"/>
                <a:gd name="T18" fmla="*/ 13 w 14"/>
                <a:gd name="T19" fmla="*/ 13 h 27"/>
                <a:gd name="T20" fmla="*/ 13 w 14"/>
                <a:gd name="T2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27">
                  <a:moveTo>
                    <a:pt x="13" y="13"/>
                  </a:move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7"/>
                    <a:pt x="4" y="0"/>
                    <a:pt x="4" y="0"/>
                  </a:cubicBezTo>
                  <a:cubicBezTo>
                    <a:pt x="3" y="4"/>
                    <a:pt x="1" y="5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1" y="18"/>
                    <a:pt x="7" y="27"/>
                    <a:pt x="7" y="27"/>
                  </a:cubicBezTo>
                  <a:cubicBezTo>
                    <a:pt x="10" y="23"/>
                    <a:pt x="12" y="20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27">
              <a:extLst>
                <a:ext uri="{FF2B5EF4-FFF2-40B4-BE49-F238E27FC236}">
                  <a16:creationId xmlns:a16="http://schemas.microsoft.com/office/drawing/2014/main" id="{B56D6C92-9D7B-42A6-9956-7861C35AB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3988" y="1185863"/>
              <a:ext cx="92075" cy="198438"/>
            </a:xfrm>
            <a:custGeom>
              <a:avLst/>
              <a:gdLst>
                <a:gd name="T0" fmla="*/ 2 w 15"/>
                <a:gd name="T1" fmla="*/ 19 h 32"/>
                <a:gd name="T2" fmla="*/ 8 w 15"/>
                <a:gd name="T3" fmla="*/ 32 h 32"/>
                <a:gd name="T4" fmla="*/ 15 w 15"/>
                <a:gd name="T5" fmla="*/ 17 h 32"/>
                <a:gd name="T6" fmla="*/ 15 w 15"/>
                <a:gd name="T7" fmla="*/ 17 h 32"/>
                <a:gd name="T8" fmla="*/ 14 w 15"/>
                <a:gd name="T9" fmla="*/ 14 h 32"/>
                <a:gd name="T10" fmla="*/ 4 w 15"/>
                <a:gd name="T11" fmla="*/ 0 h 32"/>
                <a:gd name="T12" fmla="*/ 3 w 15"/>
                <a:gd name="T13" fmla="*/ 5 h 32"/>
                <a:gd name="T14" fmla="*/ 2 w 15"/>
                <a:gd name="T15" fmla="*/ 7 h 32"/>
                <a:gd name="T16" fmla="*/ 2 w 15"/>
                <a:gd name="T17" fmla="*/ 7 h 32"/>
                <a:gd name="T18" fmla="*/ 2 w 15"/>
                <a:gd name="T19" fmla="*/ 7 h 32"/>
                <a:gd name="T20" fmla="*/ 2 w 15"/>
                <a:gd name="T21" fmla="*/ 1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32">
                  <a:moveTo>
                    <a:pt x="2" y="19"/>
                  </a:moveTo>
                  <a:cubicBezTo>
                    <a:pt x="5" y="24"/>
                    <a:pt x="6" y="27"/>
                    <a:pt x="8" y="32"/>
                  </a:cubicBezTo>
                  <a:cubicBezTo>
                    <a:pt x="8" y="32"/>
                    <a:pt x="14" y="23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6"/>
                    <a:pt x="15" y="15"/>
                    <a:pt x="14" y="14"/>
                  </a:cubicBezTo>
                  <a:cubicBezTo>
                    <a:pt x="11" y="8"/>
                    <a:pt x="8" y="4"/>
                    <a:pt x="4" y="0"/>
                  </a:cubicBezTo>
                  <a:cubicBezTo>
                    <a:pt x="4" y="0"/>
                    <a:pt x="3" y="2"/>
                    <a:pt x="3" y="5"/>
                  </a:cubicBezTo>
                  <a:cubicBezTo>
                    <a:pt x="2" y="6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11"/>
                    <a:pt x="0" y="16"/>
                    <a:pt x="2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28">
              <a:extLst>
                <a:ext uri="{FF2B5EF4-FFF2-40B4-BE49-F238E27FC236}">
                  <a16:creationId xmlns:a16="http://schemas.microsoft.com/office/drawing/2014/main" id="{358A2DE8-7E41-4EEC-B9E1-C272E7F1A9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3563" y="1446213"/>
              <a:ext cx="395288" cy="398463"/>
            </a:xfrm>
            <a:custGeom>
              <a:avLst/>
              <a:gdLst>
                <a:gd name="T0" fmla="*/ 54 w 64"/>
                <a:gd name="T1" fmla="*/ 64 h 64"/>
                <a:gd name="T2" fmla="*/ 51 w 64"/>
                <a:gd name="T3" fmla="*/ 24 h 64"/>
                <a:gd name="T4" fmla="*/ 51 w 64"/>
                <a:gd name="T5" fmla="*/ 13 h 64"/>
                <a:gd name="T6" fmla="*/ 48 w 64"/>
                <a:gd name="T7" fmla="*/ 24 h 64"/>
                <a:gd name="T8" fmla="*/ 36 w 64"/>
                <a:gd name="T9" fmla="*/ 64 h 64"/>
                <a:gd name="T10" fmla="*/ 27 w 64"/>
                <a:gd name="T11" fmla="*/ 64 h 64"/>
                <a:gd name="T12" fmla="*/ 16 w 64"/>
                <a:gd name="T13" fmla="*/ 25 h 64"/>
                <a:gd name="T14" fmla="*/ 14 w 64"/>
                <a:gd name="T15" fmla="*/ 13 h 64"/>
                <a:gd name="T16" fmla="*/ 13 w 64"/>
                <a:gd name="T17" fmla="*/ 25 h 64"/>
                <a:gd name="T18" fmla="*/ 10 w 64"/>
                <a:gd name="T19" fmla="*/ 64 h 64"/>
                <a:gd name="T20" fmla="*/ 0 w 64"/>
                <a:gd name="T21" fmla="*/ 64 h 64"/>
                <a:gd name="T22" fmla="*/ 6 w 64"/>
                <a:gd name="T23" fmla="*/ 0 h 64"/>
                <a:gd name="T24" fmla="*/ 20 w 64"/>
                <a:gd name="T25" fmla="*/ 0 h 64"/>
                <a:gd name="T26" fmla="*/ 30 w 64"/>
                <a:gd name="T27" fmla="*/ 36 h 64"/>
                <a:gd name="T28" fmla="*/ 32 w 64"/>
                <a:gd name="T29" fmla="*/ 47 h 64"/>
                <a:gd name="T30" fmla="*/ 34 w 64"/>
                <a:gd name="T31" fmla="*/ 37 h 64"/>
                <a:gd name="T32" fmla="*/ 45 w 64"/>
                <a:gd name="T33" fmla="*/ 0 h 64"/>
                <a:gd name="T34" fmla="*/ 59 w 64"/>
                <a:gd name="T35" fmla="*/ 0 h 64"/>
                <a:gd name="T36" fmla="*/ 64 w 64"/>
                <a:gd name="T37" fmla="*/ 64 h 64"/>
                <a:gd name="T38" fmla="*/ 54 w 64"/>
                <a:gd name="T3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" h="64">
                  <a:moveTo>
                    <a:pt x="54" y="64"/>
                  </a:moveTo>
                  <a:cubicBezTo>
                    <a:pt x="51" y="24"/>
                    <a:pt x="51" y="24"/>
                    <a:pt x="51" y="24"/>
                  </a:cubicBezTo>
                  <a:cubicBezTo>
                    <a:pt x="51" y="20"/>
                    <a:pt x="51" y="15"/>
                    <a:pt x="51" y="13"/>
                  </a:cubicBezTo>
                  <a:cubicBezTo>
                    <a:pt x="50" y="15"/>
                    <a:pt x="49" y="19"/>
                    <a:pt x="48" y="2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5" y="21"/>
                    <a:pt x="14" y="15"/>
                    <a:pt x="14" y="13"/>
                  </a:cubicBezTo>
                  <a:cubicBezTo>
                    <a:pt x="14" y="15"/>
                    <a:pt x="13" y="21"/>
                    <a:pt x="13" y="25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1" y="42"/>
                    <a:pt x="32" y="45"/>
                    <a:pt x="32" y="47"/>
                  </a:cubicBezTo>
                  <a:cubicBezTo>
                    <a:pt x="32" y="45"/>
                    <a:pt x="33" y="41"/>
                    <a:pt x="34" y="37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4" y="64"/>
                    <a:pt x="64" y="64"/>
                    <a:pt x="64" y="64"/>
                  </a:cubicBezTo>
                  <a:lnTo>
                    <a:pt x="54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29">
              <a:extLst>
                <a:ext uri="{FF2B5EF4-FFF2-40B4-BE49-F238E27FC236}">
                  <a16:creationId xmlns:a16="http://schemas.microsoft.com/office/drawing/2014/main" id="{64EE26A1-1C25-4B74-B730-B777E947AE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4413" y="1446213"/>
              <a:ext cx="273050" cy="398463"/>
            </a:xfrm>
            <a:custGeom>
              <a:avLst/>
              <a:gdLst>
                <a:gd name="T0" fmla="*/ 31 w 44"/>
                <a:gd name="T1" fmla="*/ 64 h 64"/>
                <a:gd name="T2" fmla="*/ 26 w 44"/>
                <a:gd name="T3" fmla="*/ 54 h 64"/>
                <a:gd name="T4" fmla="*/ 15 w 44"/>
                <a:gd name="T5" fmla="*/ 38 h 64"/>
                <a:gd name="T6" fmla="*/ 10 w 44"/>
                <a:gd name="T7" fmla="*/ 36 h 64"/>
                <a:gd name="T8" fmla="*/ 10 w 44"/>
                <a:gd name="T9" fmla="*/ 64 h 64"/>
                <a:gd name="T10" fmla="*/ 0 w 44"/>
                <a:gd name="T11" fmla="*/ 64 h 64"/>
                <a:gd name="T12" fmla="*/ 0 w 44"/>
                <a:gd name="T13" fmla="*/ 0 h 64"/>
                <a:gd name="T14" fmla="*/ 20 w 44"/>
                <a:gd name="T15" fmla="*/ 0 h 64"/>
                <a:gd name="T16" fmla="*/ 41 w 44"/>
                <a:gd name="T17" fmla="*/ 18 h 64"/>
                <a:gd name="T18" fmla="*/ 25 w 44"/>
                <a:gd name="T19" fmla="*/ 36 h 64"/>
                <a:gd name="T20" fmla="*/ 35 w 44"/>
                <a:gd name="T21" fmla="*/ 49 h 64"/>
                <a:gd name="T22" fmla="*/ 44 w 44"/>
                <a:gd name="T23" fmla="*/ 64 h 64"/>
                <a:gd name="T24" fmla="*/ 31 w 44"/>
                <a:gd name="T25" fmla="*/ 64 h 64"/>
                <a:gd name="T26" fmla="*/ 16 w 44"/>
                <a:gd name="T27" fmla="*/ 9 h 64"/>
                <a:gd name="T28" fmla="*/ 10 w 44"/>
                <a:gd name="T29" fmla="*/ 9 h 64"/>
                <a:gd name="T30" fmla="*/ 10 w 44"/>
                <a:gd name="T31" fmla="*/ 29 h 64"/>
                <a:gd name="T32" fmla="*/ 16 w 44"/>
                <a:gd name="T33" fmla="*/ 29 h 64"/>
                <a:gd name="T34" fmla="*/ 26 w 44"/>
                <a:gd name="T35" fmla="*/ 26 h 64"/>
                <a:gd name="T36" fmla="*/ 29 w 44"/>
                <a:gd name="T37" fmla="*/ 18 h 64"/>
                <a:gd name="T38" fmla="*/ 16 w 44"/>
                <a:gd name="T39" fmla="*/ 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4" h="64">
                  <a:moveTo>
                    <a:pt x="31" y="64"/>
                  </a:moveTo>
                  <a:cubicBezTo>
                    <a:pt x="26" y="54"/>
                    <a:pt x="26" y="54"/>
                    <a:pt x="26" y="54"/>
                  </a:cubicBezTo>
                  <a:cubicBezTo>
                    <a:pt x="21" y="46"/>
                    <a:pt x="18" y="42"/>
                    <a:pt x="15" y="38"/>
                  </a:cubicBezTo>
                  <a:cubicBezTo>
                    <a:pt x="13" y="37"/>
                    <a:pt x="13" y="37"/>
                    <a:pt x="10" y="36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34" y="0"/>
                    <a:pt x="41" y="8"/>
                    <a:pt x="41" y="18"/>
                  </a:cubicBezTo>
                  <a:cubicBezTo>
                    <a:pt x="41" y="28"/>
                    <a:pt x="35" y="36"/>
                    <a:pt x="25" y="36"/>
                  </a:cubicBezTo>
                  <a:cubicBezTo>
                    <a:pt x="27" y="37"/>
                    <a:pt x="31" y="43"/>
                    <a:pt x="35" y="49"/>
                  </a:cubicBezTo>
                  <a:cubicBezTo>
                    <a:pt x="44" y="64"/>
                    <a:pt x="44" y="64"/>
                    <a:pt x="44" y="64"/>
                  </a:cubicBezTo>
                  <a:lnTo>
                    <a:pt x="31" y="64"/>
                  </a:lnTo>
                  <a:close/>
                  <a:moveTo>
                    <a:pt x="16" y="9"/>
                  </a:moveTo>
                  <a:cubicBezTo>
                    <a:pt x="10" y="9"/>
                    <a:pt x="10" y="9"/>
                    <a:pt x="10" y="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22" y="29"/>
                    <a:pt x="25" y="28"/>
                    <a:pt x="26" y="26"/>
                  </a:cubicBezTo>
                  <a:cubicBezTo>
                    <a:pt x="28" y="24"/>
                    <a:pt x="29" y="22"/>
                    <a:pt x="29" y="18"/>
                  </a:cubicBezTo>
                  <a:cubicBezTo>
                    <a:pt x="29" y="12"/>
                    <a:pt x="26" y="9"/>
                    <a:pt x="16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30">
              <a:extLst>
                <a:ext uri="{FF2B5EF4-FFF2-40B4-BE49-F238E27FC236}">
                  <a16:creationId xmlns:a16="http://schemas.microsoft.com/office/drawing/2014/main" id="{927E37A7-A482-44DB-ADFC-A28D8862DF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163" y="1881188"/>
              <a:ext cx="1276350" cy="465138"/>
            </a:xfrm>
            <a:custGeom>
              <a:avLst/>
              <a:gdLst>
                <a:gd name="T0" fmla="*/ 175 w 206"/>
                <a:gd name="T1" fmla="*/ 0 h 75"/>
                <a:gd name="T2" fmla="*/ 91 w 206"/>
                <a:gd name="T3" fmla="*/ 42 h 75"/>
                <a:gd name="T4" fmla="*/ 13 w 206"/>
                <a:gd name="T5" fmla="*/ 15 h 75"/>
                <a:gd name="T6" fmla="*/ 7 w 206"/>
                <a:gd name="T7" fmla="*/ 26 h 75"/>
                <a:gd name="T8" fmla="*/ 15 w 206"/>
                <a:gd name="T9" fmla="*/ 34 h 75"/>
                <a:gd name="T10" fmla="*/ 24 w 206"/>
                <a:gd name="T11" fmla="*/ 34 h 75"/>
                <a:gd name="T12" fmla="*/ 28 w 206"/>
                <a:gd name="T13" fmla="*/ 38 h 75"/>
                <a:gd name="T14" fmla="*/ 27 w 206"/>
                <a:gd name="T15" fmla="*/ 48 h 75"/>
                <a:gd name="T16" fmla="*/ 38 w 206"/>
                <a:gd name="T17" fmla="*/ 54 h 75"/>
                <a:gd name="T18" fmla="*/ 46 w 206"/>
                <a:gd name="T19" fmla="*/ 52 h 75"/>
                <a:gd name="T20" fmla="*/ 52 w 206"/>
                <a:gd name="T21" fmla="*/ 57 h 75"/>
                <a:gd name="T22" fmla="*/ 52 w 206"/>
                <a:gd name="T23" fmla="*/ 63 h 75"/>
                <a:gd name="T24" fmla="*/ 63 w 206"/>
                <a:gd name="T25" fmla="*/ 69 h 75"/>
                <a:gd name="T26" fmla="*/ 71 w 206"/>
                <a:gd name="T27" fmla="*/ 63 h 75"/>
                <a:gd name="T28" fmla="*/ 81 w 206"/>
                <a:gd name="T29" fmla="*/ 72 h 75"/>
                <a:gd name="T30" fmla="*/ 94 w 206"/>
                <a:gd name="T31" fmla="*/ 74 h 75"/>
                <a:gd name="T32" fmla="*/ 97 w 206"/>
                <a:gd name="T33" fmla="*/ 69 h 75"/>
                <a:gd name="T34" fmla="*/ 98 w 206"/>
                <a:gd name="T35" fmla="*/ 69 h 75"/>
                <a:gd name="T36" fmla="*/ 98 w 206"/>
                <a:gd name="T37" fmla="*/ 68 h 75"/>
                <a:gd name="T38" fmla="*/ 99 w 206"/>
                <a:gd name="T39" fmla="*/ 68 h 75"/>
                <a:gd name="T40" fmla="*/ 100 w 206"/>
                <a:gd name="T41" fmla="*/ 68 h 75"/>
                <a:gd name="T42" fmla="*/ 109 w 206"/>
                <a:gd name="T43" fmla="*/ 70 h 75"/>
                <a:gd name="T44" fmla="*/ 123 w 206"/>
                <a:gd name="T45" fmla="*/ 74 h 75"/>
                <a:gd name="T46" fmla="*/ 124 w 206"/>
                <a:gd name="T47" fmla="*/ 74 h 75"/>
                <a:gd name="T48" fmla="*/ 124 w 206"/>
                <a:gd name="T49" fmla="*/ 74 h 75"/>
                <a:gd name="T50" fmla="*/ 124 w 206"/>
                <a:gd name="T51" fmla="*/ 73 h 75"/>
                <a:gd name="T52" fmla="*/ 125 w 206"/>
                <a:gd name="T53" fmla="*/ 73 h 75"/>
                <a:gd name="T54" fmla="*/ 126 w 206"/>
                <a:gd name="T55" fmla="*/ 67 h 75"/>
                <a:gd name="T56" fmla="*/ 127 w 206"/>
                <a:gd name="T57" fmla="*/ 66 h 75"/>
                <a:gd name="T58" fmla="*/ 127 w 206"/>
                <a:gd name="T59" fmla="*/ 66 h 75"/>
                <a:gd name="T60" fmla="*/ 127 w 206"/>
                <a:gd name="T61" fmla="*/ 65 h 75"/>
                <a:gd name="T62" fmla="*/ 128 w 206"/>
                <a:gd name="T63" fmla="*/ 65 h 75"/>
                <a:gd name="T64" fmla="*/ 137 w 206"/>
                <a:gd name="T65" fmla="*/ 65 h 75"/>
                <a:gd name="T66" fmla="*/ 143 w 206"/>
                <a:gd name="T67" fmla="*/ 69 h 75"/>
                <a:gd name="T68" fmla="*/ 153 w 206"/>
                <a:gd name="T69" fmla="*/ 62 h 75"/>
                <a:gd name="T70" fmla="*/ 154 w 206"/>
                <a:gd name="T71" fmla="*/ 56 h 75"/>
                <a:gd name="T72" fmla="*/ 154 w 206"/>
                <a:gd name="T73" fmla="*/ 55 h 75"/>
                <a:gd name="T74" fmla="*/ 155 w 206"/>
                <a:gd name="T75" fmla="*/ 54 h 75"/>
                <a:gd name="T76" fmla="*/ 163 w 206"/>
                <a:gd name="T77" fmla="*/ 52 h 75"/>
                <a:gd name="T78" fmla="*/ 170 w 206"/>
                <a:gd name="T79" fmla="*/ 54 h 75"/>
                <a:gd name="T80" fmla="*/ 179 w 206"/>
                <a:gd name="T81" fmla="*/ 48 h 75"/>
                <a:gd name="T82" fmla="*/ 178 w 206"/>
                <a:gd name="T83" fmla="*/ 38 h 75"/>
                <a:gd name="T84" fmla="*/ 178 w 206"/>
                <a:gd name="T85" fmla="*/ 37 h 75"/>
                <a:gd name="T86" fmla="*/ 190 w 206"/>
                <a:gd name="T87" fmla="*/ 34 h 75"/>
                <a:gd name="T88" fmla="*/ 198 w 206"/>
                <a:gd name="T89" fmla="*/ 2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6" h="75">
                  <a:moveTo>
                    <a:pt x="204" y="13"/>
                  </a:moveTo>
                  <a:cubicBezTo>
                    <a:pt x="203" y="13"/>
                    <a:pt x="195" y="16"/>
                    <a:pt x="184" y="16"/>
                  </a:cubicBezTo>
                  <a:cubicBezTo>
                    <a:pt x="180" y="11"/>
                    <a:pt x="176" y="0"/>
                    <a:pt x="175" y="0"/>
                  </a:cubicBezTo>
                  <a:cubicBezTo>
                    <a:pt x="164" y="22"/>
                    <a:pt x="141" y="38"/>
                    <a:pt x="114" y="42"/>
                  </a:cubicBezTo>
                  <a:cubicBezTo>
                    <a:pt x="110" y="42"/>
                    <a:pt x="106" y="43"/>
                    <a:pt x="103" y="43"/>
                  </a:cubicBezTo>
                  <a:cubicBezTo>
                    <a:pt x="99" y="43"/>
                    <a:pt x="95" y="42"/>
                    <a:pt x="91" y="42"/>
                  </a:cubicBezTo>
                  <a:cubicBezTo>
                    <a:pt x="64" y="38"/>
                    <a:pt x="42" y="22"/>
                    <a:pt x="30" y="0"/>
                  </a:cubicBezTo>
                  <a:cubicBezTo>
                    <a:pt x="30" y="0"/>
                    <a:pt x="26" y="12"/>
                    <a:pt x="21" y="16"/>
                  </a:cubicBezTo>
                  <a:cubicBezTo>
                    <a:pt x="20" y="16"/>
                    <a:pt x="17" y="16"/>
                    <a:pt x="13" y="15"/>
                  </a:cubicBezTo>
                  <a:cubicBezTo>
                    <a:pt x="7" y="14"/>
                    <a:pt x="2" y="13"/>
                    <a:pt x="1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6"/>
                    <a:pt x="5" y="22"/>
                    <a:pt x="7" y="26"/>
                  </a:cubicBezTo>
                  <a:cubicBezTo>
                    <a:pt x="8" y="26"/>
                    <a:pt x="12" y="32"/>
                    <a:pt x="13" y="34"/>
                  </a:cubicBezTo>
                  <a:cubicBezTo>
                    <a:pt x="14" y="34"/>
                    <a:pt x="14" y="34"/>
                    <a:pt x="15" y="34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22" y="33"/>
                    <a:pt x="22" y="33"/>
                  </a:cubicBezTo>
                  <a:cubicBezTo>
                    <a:pt x="23" y="33"/>
                    <a:pt x="23" y="33"/>
                    <a:pt x="24" y="34"/>
                  </a:cubicBezTo>
                  <a:cubicBezTo>
                    <a:pt x="24" y="34"/>
                    <a:pt x="27" y="37"/>
                    <a:pt x="27" y="37"/>
                  </a:cubicBezTo>
                  <a:cubicBezTo>
                    <a:pt x="28" y="37"/>
                    <a:pt x="28" y="38"/>
                    <a:pt x="28" y="38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6" y="47"/>
                    <a:pt x="26" y="47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30" y="51"/>
                    <a:pt x="32" y="53"/>
                    <a:pt x="35" y="54"/>
                  </a:cubicBezTo>
                  <a:cubicBezTo>
                    <a:pt x="35" y="55"/>
                    <a:pt x="36" y="55"/>
                    <a:pt x="36" y="55"/>
                  </a:cubicBezTo>
                  <a:cubicBezTo>
                    <a:pt x="36" y="55"/>
                    <a:pt x="37" y="55"/>
                    <a:pt x="38" y="54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3" y="52"/>
                    <a:pt x="44" y="51"/>
                    <a:pt x="44" y="51"/>
                  </a:cubicBezTo>
                  <a:cubicBezTo>
                    <a:pt x="45" y="51"/>
                    <a:pt x="45" y="52"/>
                    <a:pt x="46" y="52"/>
                  </a:cubicBezTo>
                  <a:cubicBezTo>
                    <a:pt x="46" y="52"/>
                    <a:pt x="50" y="54"/>
                    <a:pt x="51" y="55"/>
                  </a:cubicBezTo>
                  <a:cubicBezTo>
                    <a:pt x="51" y="55"/>
                    <a:pt x="52" y="56"/>
                    <a:pt x="52" y="57"/>
                  </a:cubicBezTo>
                  <a:cubicBezTo>
                    <a:pt x="52" y="57"/>
                    <a:pt x="52" y="57"/>
                    <a:pt x="52" y="57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4"/>
                    <a:pt x="52" y="64"/>
                    <a:pt x="53" y="65"/>
                  </a:cubicBezTo>
                  <a:cubicBezTo>
                    <a:pt x="55" y="66"/>
                    <a:pt x="61" y="69"/>
                    <a:pt x="62" y="69"/>
                  </a:cubicBezTo>
                  <a:cubicBezTo>
                    <a:pt x="62" y="69"/>
                    <a:pt x="63" y="69"/>
                    <a:pt x="63" y="69"/>
                  </a:cubicBezTo>
                  <a:cubicBezTo>
                    <a:pt x="63" y="69"/>
                    <a:pt x="64" y="69"/>
                    <a:pt x="65" y="68"/>
                  </a:cubicBezTo>
                  <a:cubicBezTo>
                    <a:pt x="69" y="65"/>
                    <a:pt x="69" y="65"/>
                    <a:pt x="69" y="65"/>
                  </a:cubicBezTo>
                  <a:cubicBezTo>
                    <a:pt x="69" y="64"/>
                    <a:pt x="70" y="63"/>
                    <a:pt x="71" y="63"/>
                  </a:cubicBezTo>
                  <a:cubicBezTo>
                    <a:pt x="72" y="63"/>
                    <a:pt x="77" y="65"/>
                    <a:pt x="77" y="65"/>
                  </a:cubicBezTo>
                  <a:cubicBezTo>
                    <a:pt x="78" y="65"/>
                    <a:pt x="79" y="66"/>
                    <a:pt x="79" y="67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4"/>
                    <a:pt x="82" y="74"/>
                    <a:pt x="83" y="74"/>
                  </a:cubicBezTo>
                  <a:cubicBezTo>
                    <a:pt x="83" y="74"/>
                    <a:pt x="91" y="75"/>
                    <a:pt x="92" y="75"/>
                  </a:cubicBezTo>
                  <a:cubicBezTo>
                    <a:pt x="92" y="75"/>
                    <a:pt x="93" y="75"/>
                    <a:pt x="94" y="74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97" y="70"/>
                    <a:pt x="97" y="69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69"/>
                    <a:pt x="98" y="69"/>
                    <a:pt x="98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8"/>
                    <a:pt x="98" y="68"/>
                    <a:pt x="98" y="68"/>
                  </a:cubicBezTo>
                  <a:cubicBezTo>
                    <a:pt x="98" y="68"/>
                    <a:pt x="98" y="68"/>
                    <a:pt x="98" y="68"/>
                  </a:cubicBezTo>
                  <a:cubicBezTo>
                    <a:pt x="98" y="68"/>
                    <a:pt x="98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100" y="68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100" y="68"/>
                    <a:pt x="105" y="68"/>
                    <a:pt x="105" y="68"/>
                  </a:cubicBezTo>
                  <a:cubicBezTo>
                    <a:pt x="107" y="68"/>
                    <a:pt x="108" y="68"/>
                    <a:pt x="109" y="70"/>
                  </a:cubicBezTo>
                  <a:cubicBezTo>
                    <a:pt x="112" y="74"/>
                    <a:pt x="112" y="74"/>
                    <a:pt x="112" y="74"/>
                  </a:cubicBezTo>
                  <a:cubicBezTo>
                    <a:pt x="112" y="75"/>
                    <a:pt x="113" y="75"/>
                    <a:pt x="114" y="75"/>
                  </a:cubicBezTo>
                  <a:cubicBezTo>
                    <a:pt x="114" y="75"/>
                    <a:pt x="122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4" y="74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5" y="73"/>
                    <a:pt x="125" y="72"/>
                    <a:pt x="125" y="72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26" y="67"/>
                    <a:pt x="127" y="67"/>
                    <a:pt x="127" y="67"/>
                  </a:cubicBezTo>
                  <a:cubicBezTo>
                    <a:pt x="127" y="67"/>
                    <a:pt x="127" y="67"/>
                    <a:pt x="127" y="67"/>
                  </a:cubicBezTo>
                  <a:cubicBezTo>
                    <a:pt x="127" y="67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5"/>
                    <a:pt x="127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9" y="65"/>
                    <a:pt x="134" y="63"/>
                    <a:pt x="134" y="63"/>
                  </a:cubicBezTo>
                  <a:cubicBezTo>
                    <a:pt x="135" y="63"/>
                    <a:pt x="136" y="64"/>
                    <a:pt x="137" y="65"/>
                  </a:cubicBezTo>
                  <a:cubicBezTo>
                    <a:pt x="141" y="68"/>
                    <a:pt x="141" y="68"/>
                    <a:pt x="141" y="68"/>
                  </a:cubicBezTo>
                  <a:cubicBezTo>
                    <a:pt x="141" y="69"/>
                    <a:pt x="142" y="69"/>
                    <a:pt x="143" y="69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4" y="69"/>
                    <a:pt x="144" y="68"/>
                    <a:pt x="145" y="68"/>
                  </a:cubicBezTo>
                  <a:cubicBezTo>
                    <a:pt x="147" y="67"/>
                    <a:pt x="150" y="66"/>
                    <a:pt x="152" y="65"/>
                  </a:cubicBezTo>
                  <a:cubicBezTo>
                    <a:pt x="154" y="64"/>
                    <a:pt x="153" y="63"/>
                    <a:pt x="153" y="62"/>
                  </a:cubicBezTo>
                  <a:cubicBezTo>
                    <a:pt x="154" y="61"/>
                    <a:pt x="154" y="61"/>
                    <a:pt x="154" y="60"/>
                  </a:cubicBezTo>
                  <a:cubicBezTo>
                    <a:pt x="154" y="60"/>
                    <a:pt x="154" y="60"/>
                    <a:pt x="154" y="60"/>
                  </a:cubicBezTo>
                  <a:cubicBezTo>
                    <a:pt x="154" y="56"/>
                    <a:pt x="154" y="56"/>
                    <a:pt x="154" y="56"/>
                  </a:cubicBezTo>
                  <a:cubicBezTo>
                    <a:pt x="154" y="56"/>
                    <a:pt x="154" y="56"/>
                    <a:pt x="154" y="56"/>
                  </a:cubicBezTo>
                  <a:cubicBezTo>
                    <a:pt x="154" y="56"/>
                    <a:pt x="154" y="55"/>
                    <a:pt x="154" y="55"/>
                  </a:cubicBezTo>
                  <a:cubicBezTo>
                    <a:pt x="154" y="55"/>
                    <a:pt x="154" y="55"/>
                    <a:pt x="154" y="55"/>
                  </a:cubicBezTo>
                  <a:cubicBezTo>
                    <a:pt x="155" y="55"/>
                    <a:pt x="155" y="55"/>
                    <a:pt x="155" y="55"/>
                  </a:cubicBezTo>
                  <a:cubicBezTo>
                    <a:pt x="155" y="55"/>
                    <a:pt x="155" y="55"/>
                    <a:pt x="155" y="55"/>
                  </a:cubicBezTo>
                  <a:cubicBezTo>
                    <a:pt x="155" y="55"/>
                    <a:pt x="155" y="54"/>
                    <a:pt x="155" y="54"/>
                  </a:cubicBezTo>
                  <a:cubicBezTo>
                    <a:pt x="155" y="54"/>
                    <a:pt x="159" y="52"/>
                    <a:pt x="160" y="52"/>
                  </a:cubicBezTo>
                  <a:cubicBezTo>
                    <a:pt x="160" y="52"/>
                    <a:pt x="161" y="51"/>
                    <a:pt x="161" y="51"/>
                  </a:cubicBezTo>
                  <a:cubicBezTo>
                    <a:pt x="162" y="51"/>
                    <a:pt x="162" y="52"/>
                    <a:pt x="163" y="52"/>
                  </a:cubicBezTo>
                  <a:cubicBezTo>
                    <a:pt x="168" y="54"/>
                    <a:pt x="168" y="54"/>
                    <a:pt x="168" y="54"/>
                  </a:cubicBezTo>
                  <a:cubicBezTo>
                    <a:pt x="168" y="55"/>
                    <a:pt x="169" y="55"/>
                    <a:pt x="169" y="55"/>
                  </a:cubicBezTo>
                  <a:cubicBezTo>
                    <a:pt x="170" y="55"/>
                    <a:pt x="170" y="55"/>
                    <a:pt x="170" y="54"/>
                  </a:cubicBezTo>
                  <a:cubicBezTo>
                    <a:pt x="173" y="53"/>
                    <a:pt x="175" y="51"/>
                    <a:pt x="178" y="48"/>
                  </a:cubicBezTo>
                  <a:cubicBezTo>
                    <a:pt x="178" y="48"/>
                    <a:pt x="178" y="48"/>
                    <a:pt x="178" y="48"/>
                  </a:cubicBezTo>
                  <a:cubicBezTo>
                    <a:pt x="178" y="48"/>
                    <a:pt x="178" y="48"/>
                    <a:pt x="179" y="48"/>
                  </a:cubicBezTo>
                  <a:cubicBezTo>
                    <a:pt x="179" y="47"/>
                    <a:pt x="180" y="46"/>
                    <a:pt x="179" y="45"/>
                  </a:cubicBezTo>
                  <a:cubicBezTo>
                    <a:pt x="177" y="38"/>
                    <a:pt x="177" y="38"/>
                    <a:pt x="177" y="38"/>
                  </a:cubicBezTo>
                  <a:cubicBezTo>
                    <a:pt x="177" y="38"/>
                    <a:pt x="177" y="38"/>
                    <a:pt x="178" y="38"/>
                  </a:cubicBezTo>
                  <a:cubicBezTo>
                    <a:pt x="178" y="38"/>
                    <a:pt x="178" y="38"/>
                    <a:pt x="178" y="37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81" y="34"/>
                    <a:pt x="182" y="33"/>
                    <a:pt x="183" y="33"/>
                  </a:cubicBezTo>
                  <a:cubicBezTo>
                    <a:pt x="184" y="33"/>
                    <a:pt x="190" y="34"/>
                    <a:pt x="190" y="34"/>
                  </a:cubicBezTo>
                  <a:cubicBezTo>
                    <a:pt x="190" y="34"/>
                    <a:pt x="191" y="34"/>
                    <a:pt x="191" y="34"/>
                  </a:cubicBezTo>
                  <a:cubicBezTo>
                    <a:pt x="191" y="34"/>
                    <a:pt x="192" y="34"/>
                    <a:pt x="192" y="34"/>
                  </a:cubicBezTo>
                  <a:cubicBezTo>
                    <a:pt x="193" y="32"/>
                    <a:pt x="198" y="26"/>
                    <a:pt x="198" y="26"/>
                  </a:cubicBezTo>
                  <a:cubicBezTo>
                    <a:pt x="200" y="22"/>
                    <a:pt x="204" y="15"/>
                    <a:pt x="206" y="12"/>
                  </a:cubicBezTo>
                  <a:lnTo>
                    <a:pt x="20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5606907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6DC8057-98BC-4F48-A79B-5BF10F6B09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800" y="1573201"/>
            <a:ext cx="10267123" cy="426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129431F-BB70-4016-9AB1-A30598EC7D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795338"/>
            <a:ext cx="1123315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accent2"/>
                </a:solidFill>
                <a:latin typeface="DINPro-Regular" panose="02000503030000020003" pitchFamily="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>
                <a:solidFill>
                  <a:schemeClr val="accent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E1FDAA7-7FD4-7A49-BECD-5D735832B4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047782-21CC-B140-8020-F3E750DC9B1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Titel / Name unter Einfügen - Kopf-und Fußzeile 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91A1638-425D-C640-B604-B8AF42C7F86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B36B8E5-3A52-4A78-81A8-094081A03A6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74222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6DC8057-98BC-4F48-A79B-5BF10F6B09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573200"/>
            <a:ext cx="4981302" cy="426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129431F-BB70-4016-9AB1-A30598EC7D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795338"/>
            <a:ext cx="1123315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accent2"/>
                </a:solidFill>
                <a:latin typeface="DINPro-Regular" panose="02000503030000020003" pitchFamily="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>
                <a:solidFill>
                  <a:schemeClr val="accent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31173D53-6573-4345-8F1A-8FC8D9A5BD3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64620" y="1573200"/>
            <a:ext cx="4981302" cy="426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664E3879-FED1-F841-9BF8-BC1A0AE79F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F915176-6A36-D140-8956-EA1ACA40B5C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Titel / Name unter Einfügen - Kopf-und Fußzeile 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F6A57DE-5705-1D43-9417-9398D4C3FA3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B36B8E5-3A52-4A78-81A8-094081A03A6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97993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6DC8057-98BC-4F48-A79B-5BF10F6B09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800" y="1573200"/>
            <a:ext cx="4115425" cy="426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129431F-BB70-4016-9AB1-A30598EC7D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795338"/>
            <a:ext cx="1123315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accent2"/>
                </a:solidFill>
                <a:latin typeface="DINPro-Regular" panose="02000503030000020003" pitchFamily="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>
                <a:solidFill>
                  <a:schemeClr val="accent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3F5CCC0-C1F6-4240-8C6E-CEBA9129C26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976949" y="1557338"/>
            <a:ext cx="7215051" cy="41402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BA18C43-EE8F-DC4C-8F7E-A60FC2BA2C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B8516D7-B237-EE48-82E2-A3A3A69E497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Titel / Name unter Einfügen - Kopf-und Fußzeile </a:t>
            </a:r>
            <a:endParaRPr lang="de-DE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F596FE07-6C05-0A45-AB5A-723DB289C9D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2B36B8E5-3A52-4A78-81A8-094081A03A6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30178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45AAA0A-CF11-4EF7-A762-630D7B3A72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C959761E-3F57-4808-B975-15C6C852E1B3}"/>
              </a:ext>
            </a:extLst>
          </p:cNvPr>
          <p:cNvGrpSpPr/>
          <p:nvPr userDrawn="1"/>
        </p:nvGrpSpPr>
        <p:grpSpPr>
          <a:xfrm>
            <a:off x="11408675" y="6072554"/>
            <a:ext cx="527308" cy="525522"/>
            <a:chOff x="1485900" y="944563"/>
            <a:chExt cx="1406526" cy="1401763"/>
          </a:xfrm>
          <a:solidFill>
            <a:schemeClr val="bg1"/>
          </a:solidFill>
        </p:grpSpPr>
        <p:sp>
          <p:nvSpPr>
            <p:cNvPr id="36" name="Freeform 5">
              <a:extLst>
                <a:ext uri="{FF2B5EF4-FFF2-40B4-BE49-F238E27FC236}">
                  <a16:creationId xmlns:a16="http://schemas.microsoft.com/office/drawing/2014/main" id="{4C05B861-AE2F-444D-8E88-F4DE4E6C6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6088" y="1019175"/>
              <a:ext cx="946150" cy="247650"/>
            </a:xfrm>
            <a:custGeom>
              <a:avLst/>
              <a:gdLst>
                <a:gd name="T0" fmla="*/ 76 w 153"/>
                <a:gd name="T1" fmla="*/ 0 h 40"/>
                <a:gd name="T2" fmla="*/ 0 w 153"/>
                <a:gd name="T3" fmla="*/ 35 h 40"/>
                <a:gd name="T4" fmla="*/ 0 w 153"/>
                <a:gd name="T5" fmla="*/ 39 h 40"/>
                <a:gd name="T6" fmla="*/ 4 w 153"/>
                <a:gd name="T7" fmla="*/ 39 h 40"/>
                <a:gd name="T8" fmla="*/ 76 w 153"/>
                <a:gd name="T9" fmla="*/ 6 h 40"/>
                <a:gd name="T10" fmla="*/ 149 w 153"/>
                <a:gd name="T11" fmla="*/ 40 h 40"/>
                <a:gd name="T12" fmla="*/ 153 w 153"/>
                <a:gd name="T13" fmla="*/ 40 h 40"/>
                <a:gd name="T14" fmla="*/ 153 w 153"/>
                <a:gd name="T15" fmla="*/ 36 h 40"/>
                <a:gd name="T16" fmla="*/ 76 w 153"/>
                <a:gd name="T1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40">
                  <a:moveTo>
                    <a:pt x="76" y="0"/>
                  </a:moveTo>
                  <a:cubicBezTo>
                    <a:pt x="45" y="0"/>
                    <a:pt x="18" y="12"/>
                    <a:pt x="0" y="35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21" y="18"/>
                    <a:pt x="46" y="6"/>
                    <a:pt x="76" y="6"/>
                  </a:cubicBezTo>
                  <a:cubicBezTo>
                    <a:pt x="106" y="6"/>
                    <a:pt x="131" y="18"/>
                    <a:pt x="149" y="40"/>
                  </a:cubicBezTo>
                  <a:cubicBezTo>
                    <a:pt x="153" y="40"/>
                    <a:pt x="153" y="40"/>
                    <a:pt x="153" y="40"/>
                  </a:cubicBezTo>
                  <a:cubicBezTo>
                    <a:pt x="153" y="36"/>
                    <a:pt x="153" y="36"/>
                    <a:pt x="153" y="36"/>
                  </a:cubicBezTo>
                  <a:cubicBezTo>
                    <a:pt x="135" y="13"/>
                    <a:pt x="108" y="0"/>
                    <a:pt x="7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EFAD1588-BC2C-4F56-9197-3D879E8C3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9113" y="1100138"/>
              <a:ext cx="800100" cy="173038"/>
            </a:xfrm>
            <a:custGeom>
              <a:avLst/>
              <a:gdLst>
                <a:gd name="T0" fmla="*/ 127 w 129"/>
                <a:gd name="T1" fmla="*/ 26 h 28"/>
                <a:gd name="T2" fmla="*/ 64 w 129"/>
                <a:gd name="T3" fmla="*/ 0 h 28"/>
                <a:gd name="T4" fmla="*/ 1 w 129"/>
                <a:gd name="T5" fmla="*/ 26 h 28"/>
                <a:gd name="T6" fmla="*/ 1 w 129"/>
                <a:gd name="T7" fmla="*/ 26 h 28"/>
                <a:gd name="T8" fmla="*/ 0 w 129"/>
                <a:gd name="T9" fmla="*/ 28 h 28"/>
                <a:gd name="T10" fmla="*/ 8 w 129"/>
                <a:gd name="T11" fmla="*/ 28 h 28"/>
                <a:gd name="T12" fmla="*/ 64 w 129"/>
                <a:gd name="T13" fmla="*/ 6 h 28"/>
                <a:gd name="T14" fmla="*/ 121 w 129"/>
                <a:gd name="T15" fmla="*/ 28 h 28"/>
                <a:gd name="T16" fmla="*/ 129 w 129"/>
                <a:gd name="T17" fmla="*/ 28 h 28"/>
                <a:gd name="T18" fmla="*/ 127 w 129"/>
                <a:gd name="T19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9" h="28">
                  <a:moveTo>
                    <a:pt x="127" y="26"/>
                  </a:moveTo>
                  <a:cubicBezTo>
                    <a:pt x="111" y="10"/>
                    <a:pt x="89" y="0"/>
                    <a:pt x="64" y="0"/>
                  </a:cubicBezTo>
                  <a:cubicBezTo>
                    <a:pt x="40" y="0"/>
                    <a:pt x="17" y="10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7"/>
                    <a:pt x="0" y="27"/>
                    <a:pt x="0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23" y="14"/>
                    <a:pt x="43" y="6"/>
                    <a:pt x="64" y="6"/>
                  </a:cubicBezTo>
                  <a:cubicBezTo>
                    <a:pt x="86" y="6"/>
                    <a:pt x="106" y="14"/>
                    <a:pt x="121" y="28"/>
                  </a:cubicBezTo>
                  <a:cubicBezTo>
                    <a:pt x="129" y="28"/>
                    <a:pt x="129" y="28"/>
                    <a:pt x="129" y="28"/>
                  </a:cubicBezTo>
                  <a:cubicBezTo>
                    <a:pt x="128" y="27"/>
                    <a:pt x="128" y="27"/>
                    <a:pt x="12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822E6F9B-9824-4EFD-8AE2-FC82B813D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0688" y="944563"/>
              <a:ext cx="984250" cy="247650"/>
            </a:xfrm>
            <a:custGeom>
              <a:avLst/>
              <a:gdLst>
                <a:gd name="T0" fmla="*/ 159 w 159"/>
                <a:gd name="T1" fmla="*/ 32 h 40"/>
                <a:gd name="T2" fmla="*/ 79 w 159"/>
                <a:gd name="T3" fmla="*/ 0 h 40"/>
                <a:gd name="T4" fmla="*/ 0 w 159"/>
                <a:gd name="T5" fmla="*/ 32 h 40"/>
                <a:gd name="T6" fmla="*/ 1 w 159"/>
                <a:gd name="T7" fmla="*/ 39 h 40"/>
                <a:gd name="T8" fmla="*/ 79 w 159"/>
                <a:gd name="T9" fmla="*/ 5 h 40"/>
                <a:gd name="T10" fmla="*/ 159 w 159"/>
                <a:gd name="T11" fmla="*/ 40 h 40"/>
                <a:gd name="T12" fmla="*/ 159 w 159"/>
                <a:gd name="T13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40">
                  <a:moveTo>
                    <a:pt x="159" y="32"/>
                  </a:moveTo>
                  <a:cubicBezTo>
                    <a:pt x="139" y="12"/>
                    <a:pt x="111" y="0"/>
                    <a:pt x="79" y="0"/>
                  </a:cubicBezTo>
                  <a:cubicBezTo>
                    <a:pt x="48" y="0"/>
                    <a:pt x="20" y="12"/>
                    <a:pt x="0" y="32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20" y="18"/>
                    <a:pt x="48" y="5"/>
                    <a:pt x="79" y="5"/>
                  </a:cubicBezTo>
                  <a:cubicBezTo>
                    <a:pt x="111" y="5"/>
                    <a:pt x="139" y="18"/>
                    <a:pt x="159" y="40"/>
                  </a:cubicBezTo>
                  <a:lnTo>
                    <a:pt x="159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8FCC9C0A-C59A-4138-94B3-271CA1F31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263" y="1185863"/>
              <a:ext cx="85725" cy="198438"/>
            </a:xfrm>
            <a:custGeom>
              <a:avLst/>
              <a:gdLst>
                <a:gd name="T0" fmla="*/ 0 w 14"/>
                <a:gd name="T1" fmla="*/ 17 h 32"/>
                <a:gd name="T2" fmla="*/ 6 w 14"/>
                <a:gd name="T3" fmla="*/ 32 h 32"/>
                <a:gd name="T4" fmla="*/ 13 w 14"/>
                <a:gd name="T5" fmla="*/ 19 h 32"/>
                <a:gd name="T6" fmla="*/ 12 w 14"/>
                <a:gd name="T7" fmla="*/ 7 h 32"/>
                <a:gd name="T8" fmla="*/ 12 w 14"/>
                <a:gd name="T9" fmla="*/ 7 h 32"/>
                <a:gd name="T10" fmla="*/ 12 w 14"/>
                <a:gd name="T11" fmla="*/ 7 h 32"/>
                <a:gd name="T12" fmla="*/ 12 w 14"/>
                <a:gd name="T13" fmla="*/ 5 h 32"/>
                <a:gd name="T14" fmla="*/ 10 w 14"/>
                <a:gd name="T15" fmla="*/ 0 h 32"/>
                <a:gd name="T16" fmla="*/ 0 w 14"/>
                <a:gd name="T17" fmla="*/ 14 h 32"/>
                <a:gd name="T18" fmla="*/ 0 w 14"/>
                <a:gd name="T19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32">
                  <a:moveTo>
                    <a:pt x="0" y="17"/>
                  </a:moveTo>
                  <a:cubicBezTo>
                    <a:pt x="0" y="23"/>
                    <a:pt x="6" y="32"/>
                    <a:pt x="6" y="32"/>
                  </a:cubicBezTo>
                  <a:cubicBezTo>
                    <a:pt x="8" y="27"/>
                    <a:pt x="9" y="24"/>
                    <a:pt x="13" y="19"/>
                  </a:cubicBezTo>
                  <a:cubicBezTo>
                    <a:pt x="14" y="16"/>
                    <a:pt x="13" y="11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6"/>
                    <a:pt x="12" y="5"/>
                  </a:cubicBezTo>
                  <a:cubicBezTo>
                    <a:pt x="11" y="2"/>
                    <a:pt x="10" y="0"/>
                    <a:pt x="10" y="0"/>
                  </a:cubicBezTo>
                  <a:cubicBezTo>
                    <a:pt x="6" y="4"/>
                    <a:pt x="3" y="8"/>
                    <a:pt x="0" y="14"/>
                  </a:cubicBezTo>
                  <a:cubicBezTo>
                    <a:pt x="0" y="15"/>
                    <a:pt x="0" y="16"/>
                    <a:pt x="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28691978-8236-4588-93A0-B3B0B0DE3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900" y="1471613"/>
              <a:ext cx="87313" cy="192088"/>
            </a:xfrm>
            <a:custGeom>
              <a:avLst/>
              <a:gdLst>
                <a:gd name="T0" fmla="*/ 0 w 14"/>
                <a:gd name="T1" fmla="*/ 18 h 31"/>
                <a:gd name="T2" fmla="*/ 0 w 14"/>
                <a:gd name="T3" fmla="*/ 19 h 31"/>
                <a:gd name="T4" fmla="*/ 13 w 14"/>
                <a:gd name="T5" fmla="*/ 31 h 31"/>
                <a:gd name="T6" fmla="*/ 13 w 14"/>
                <a:gd name="T7" fmla="*/ 29 h 31"/>
                <a:gd name="T8" fmla="*/ 13 w 14"/>
                <a:gd name="T9" fmla="*/ 28 h 31"/>
                <a:gd name="T10" fmla="*/ 13 w 14"/>
                <a:gd name="T11" fmla="*/ 27 h 31"/>
                <a:gd name="T12" fmla="*/ 14 w 14"/>
                <a:gd name="T13" fmla="*/ 16 h 31"/>
                <a:gd name="T14" fmla="*/ 3 w 14"/>
                <a:gd name="T15" fmla="*/ 0 h 31"/>
                <a:gd name="T16" fmla="*/ 0 w 14"/>
                <a:gd name="T17" fmla="*/ 17 h 31"/>
                <a:gd name="T18" fmla="*/ 0 w 14"/>
                <a:gd name="T19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31">
                  <a:moveTo>
                    <a:pt x="0" y="18"/>
                  </a:moveTo>
                  <a:cubicBezTo>
                    <a:pt x="0" y="18"/>
                    <a:pt x="0" y="19"/>
                    <a:pt x="0" y="19"/>
                  </a:cubicBezTo>
                  <a:cubicBezTo>
                    <a:pt x="0" y="24"/>
                    <a:pt x="13" y="31"/>
                    <a:pt x="13" y="31"/>
                  </a:cubicBezTo>
                  <a:cubicBezTo>
                    <a:pt x="13" y="30"/>
                    <a:pt x="13" y="29"/>
                    <a:pt x="13" y="29"/>
                  </a:cubicBezTo>
                  <a:cubicBezTo>
                    <a:pt x="13" y="29"/>
                    <a:pt x="13" y="28"/>
                    <a:pt x="13" y="28"/>
                  </a:cubicBezTo>
                  <a:cubicBezTo>
                    <a:pt x="13" y="28"/>
                    <a:pt x="13" y="27"/>
                    <a:pt x="13" y="27"/>
                  </a:cubicBezTo>
                  <a:cubicBezTo>
                    <a:pt x="13" y="23"/>
                    <a:pt x="14" y="21"/>
                    <a:pt x="14" y="16"/>
                  </a:cubicBezTo>
                  <a:cubicBezTo>
                    <a:pt x="12" y="10"/>
                    <a:pt x="3" y="0"/>
                    <a:pt x="3" y="0"/>
                  </a:cubicBezTo>
                  <a:cubicBezTo>
                    <a:pt x="2" y="6"/>
                    <a:pt x="0" y="10"/>
                    <a:pt x="0" y="17"/>
                  </a:cubicBezTo>
                  <a:cubicBezTo>
                    <a:pt x="0" y="18"/>
                    <a:pt x="0" y="18"/>
                    <a:pt x="0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10">
              <a:extLst>
                <a:ext uri="{FF2B5EF4-FFF2-40B4-BE49-F238E27FC236}">
                  <a16:creationId xmlns:a16="http://schemas.microsoft.com/office/drawing/2014/main" id="{EAA3022F-20BC-4CD2-B68A-D478B4970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4950" y="1819275"/>
              <a:ext cx="136525" cy="130175"/>
            </a:xfrm>
            <a:custGeom>
              <a:avLst/>
              <a:gdLst>
                <a:gd name="T0" fmla="*/ 16 w 22"/>
                <a:gd name="T1" fmla="*/ 8 h 21"/>
                <a:gd name="T2" fmla="*/ 0 w 22"/>
                <a:gd name="T3" fmla="*/ 0 h 21"/>
                <a:gd name="T4" fmla="*/ 1 w 22"/>
                <a:gd name="T5" fmla="*/ 1 h 21"/>
                <a:gd name="T6" fmla="*/ 1 w 22"/>
                <a:gd name="T7" fmla="*/ 1 h 21"/>
                <a:gd name="T8" fmla="*/ 5 w 22"/>
                <a:gd name="T9" fmla="*/ 16 h 21"/>
                <a:gd name="T10" fmla="*/ 22 w 22"/>
                <a:gd name="T11" fmla="*/ 21 h 21"/>
                <a:gd name="T12" fmla="*/ 21 w 22"/>
                <a:gd name="T13" fmla="*/ 18 h 21"/>
                <a:gd name="T14" fmla="*/ 16 w 22"/>
                <a:gd name="T15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6" y="8"/>
                  </a:moveTo>
                  <a:cubicBezTo>
                    <a:pt x="14" y="3"/>
                    <a:pt x="0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7"/>
                    <a:pt x="2" y="10"/>
                    <a:pt x="5" y="16"/>
                  </a:cubicBezTo>
                  <a:cubicBezTo>
                    <a:pt x="7" y="20"/>
                    <a:pt x="22" y="21"/>
                    <a:pt x="22" y="21"/>
                  </a:cubicBezTo>
                  <a:cubicBezTo>
                    <a:pt x="22" y="20"/>
                    <a:pt x="21" y="19"/>
                    <a:pt x="21" y="18"/>
                  </a:cubicBezTo>
                  <a:cubicBezTo>
                    <a:pt x="19" y="15"/>
                    <a:pt x="18" y="12"/>
                    <a:pt x="1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1E54CFF5-5492-4707-93BA-4F68ACF23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5125" y="1770063"/>
              <a:ext cx="80963" cy="166688"/>
            </a:xfrm>
            <a:custGeom>
              <a:avLst/>
              <a:gdLst>
                <a:gd name="T0" fmla="*/ 0 w 13"/>
                <a:gd name="T1" fmla="*/ 13 h 27"/>
                <a:gd name="T2" fmla="*/ 0 w 13"/>
                <a:gd name="T3" fmla="*/ 13 h 27"/>
                <a:gd name="T4" fmla="*/ 0 w 13"/>
                <a:gd name="T5" fmla="*/ 13 h 27"/>
                <a:gd name="T6" fmla="*/ 0 w 13"/>
                <a:gd name="T7" fmla="*/ 13 h 27"/>
                <a:gd name="T8" fmla="*/ 0 w 13"/>
                <a:gd name="T9" fmla="*/ 13 h 27"/>
                <a:gd name="T10" fmla="*/ 0 w 13"/>
                <a:gd name="T11" fmla="*/ 13 h 27"/>
                <a:gd name="T12" fmla="*/ 6 w 13"/>
                <a:gd name="T13" fmla="*/ 27 h 27"/>
                <a:gd name="T14" fmla="*/ 13 w 13"/>
                <a:gd name="T15" fmla="*/ 11 h 27"/>
                <a:gd name="T16" fmla="*/ 13 w 13"/>
                <a:gd name="T17" fmla="*/ 10 h 27"/>
                <a:gd name="T18" fmla="*/ 10 w 13"/>
                <a:gd name="T19" fmla="*/ 0 h 27"/>
                <a:gd name="T20" fmla="*/ 0 w 13"/>
                <a:gd name="T2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27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20"/>
                    <a:pt x="4" y="23"/>
                    <a:pt x="6" y="27"/>
                  </a:cubicBezTo>
                  <a:cubicBezTo>
                    <a:pt x="6" y="27"/>
                    <a:pt x="12" y="18"/>
                    <a:pt x="13" y="11"/>
                  </a:cubicBezTo>
                  <a:cubicBezTo>
                    <a:pt x="13" y="11"/>
                    <a:pt x="13" y="10"/>
                    <a:pt x="13" y="10"/>
                  </a:cubicBezTo>
                  <a:cubicBezTo>
                    <a:pt x="13" y="5"/>
                    <a:pt x="11" y="4"/>
                    <a:pt x="10" y="0"/>
                  </a:cubicBezTo>
                  <a:cubicBezTo>
                    <a:pt x="10" y="0"/>
                    <a:pt x="0" y="7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12">
              <a:extLst>
                <a:ext uri="{FF2B5EF4-FFF2-40B4-BE49-F238E27FC236}">
                  <a16:creationId xmlns:a16="http://schemas.microsoft.com/office/drawing/2014/main" id="{88750201-71EA-4FDE-AC77-FC59337D86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8613" y="1646238"/>
              <a:ext cx="85725" cy="160338"/>
            </a:xfrm>
            <a:custGeom>
              <a:avLst/>
              <a:gdLst>
                <a:gd name="T0" fmla="*/ 14 w 14"/>
                <a:gd name="T1" fmla="*/ 1 h 26"/>
                <a:gd name="T2" fmla="*/ 14 w 14"/>
                <a:gd name="T3" fmla="*/ 0 h 26"/>
                <a:gd name="T4" fmla="*/ 13 w 14"/>
                <a:gd name="T5" fmla="*/ 0 h 26"/>
                <a:gd name="T6" fmla="*/ 0 w 14"/>
                <a:gd name="T7" fmla="*/ 11 h 26"/>
                <a:gd name="T8" fmla="*/ 0 w 14"/>
                <a:gd name="T9" fmla="*/ 13 h 26"/>
                <a:gd name="T10" fmla="*/ 4 w 14"/>
                <a:gd name="T11" fmla="*/ 26 h 26"/>
                <a:gd name="T12" fmla="*/ 14 w 14"/>
                <a:gd name="T13" fmla="*/ 11 h 26"/>
                <a:gd name="T14" fmla="*/ 14 w 14"/>
                <a:gd name="T15" fmla="*/ 11 h 26"/>
                <a:gd name="T16" fmla="*/ 14 w 14"/>
                <a:gd name="T17" fmla="*/ 11 h 26"/>
                <a:gd name="T18" fmla="*/ 14 w 14"/>
                <a:gd name="T19" fmla="*/ 11 h 26"/>
                <a:gd name="T20" fmla="*/ 14 w 14"/>
                <a:gd name="T21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26">
                  <a:moveTo>
                    <a:pt x="14" y="1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1" y="1"/>
                    <a:pt x="1" y="6"/>
                    <a:pt x="0" y="11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8"/>
                    <a:pt x="2" y="21"/>
                    <a:pt x="4" y="26"/>
                  </a:cubicBezTo>
                  <a:cubicBezTo>
                    <a:pt x="4" y="26"/>
                    <a:pt x="14" y="16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7"/>
                    <a:pt x="14" y="4"/>
                    <a:pt x="1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EF6BD13A-8655-49F5-88D0-A12AD37F69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263" y="1533525"/>
              <a:ext cx="104775" cy="130175"/>
            </a:xfrm>
            <a:custGeom>
              <a:avLst/>
              <a:gdLst>
                <a:gd name="T0" fmla="*/ 17 w 17"/>
                <a:gd name="T1" fmla="*/ 0 h 21"/>
                <a:gd name="T2" fmla="*/ 2 w 17"/>
                <a:gd name="T3" fmla="*/ 6 h 21"/>
                <a:gd name="T4" fmla="*/ 1 w 17"/>
                <a:gd name="T5" fmla="*/ 17 h 21"/>
                <a:gd name="T6" fmla="*/ 1 w 17"/>
                <a:gd name="T7" fmla="*/ 18 h 21"/>
                <a:gd name="T8" fmla="*/ 1 w 17"/>
                <a:gd name="T9" fmla="*/ 19 h 21"/>
                <a:gd name="T10" fmla="*/ 1 w 17"/>
                <a:gd name="T11" fmla="*/ 21 h 21"/>
                <a:gd name="T12" fmla="*/ 15 w 17"/>
                <a:gd name="T13" fmla="*/ 10 h 21"/>
                <a:gd name="T14" fmla="*/ 16 w 17"/>
                <a:gd name="T15" fmla="*/ 6 h 21"/>
                <a:gd name="T16" fmla="*/ 16 w 17"/>
                <a:gd name="T17" fmla="*/ 6 h 21"/>
                <a:gd name="T18" fmla="*/ 16 w 17"/>
                <a:gd name="T19" fmla="*/ 6 h 21"/>
                <a:gd name="T20" fmla="*/ 17 w 17"/>
                <a:gd name="T2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21">
                  <a:moveTo>
                    <a:pt x="17" y="0"/>
                  </a:moveTo>
                  <a:cubicBezTo>
                    <a:pt x="17" y="0"/>
                    <a:pt x="4" y="2"/>
                    <a:pt x="2" y="6"/>
                  </a:cubicBezTo>
                  <a:cubicBezTo>
                    <a:pt x="0" y="10"/>
                    <a:pt x="1" y="13"/>
                    <a:pt x="1" y="17"/>
                  </a:cubicBezTo>
                  <a:cubicBezTo>
                    <a:pt x="1" y="17"/>
                    <a:pt x="1" y="19"/>
                    <a:pt x="1" y="18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20"/>
                    <a:pt x="1" y="20"/>
                    <a:pt x="1" y="21"/>
                  </a:cubicBezTo>
                  <a:cubicBezTo>
                    <a:pt x="1" y="21"/>
                    <a:pt x="13" y="14"/>
                    <a:pt x="15" y="10"/>
                  </a:cubicBezTo>
                  <a:cubicBezTo>
                    <a:pt x="16" y="8"/>
                    <a:pt x="16" y="7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3"/>
                    <a:pt x="16" y="2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B9337FC1-C1C4-4E92-AEB5-BBCE7189D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0525" y="1309688"/>
              <a:ext cx="141288" cy="87313"/>
            </a:xfrm>
            <a:custGeom>
              <a:avLst/>
              <a:gdLst>
                <a:gd name="T0" fmla="*/ 22 w 23"/>
                <a:gd name="T1" fmla="*/ 1 h 14"/>
                <a:gd name="T2" fmla="*/ 6 w 23"/>
                <a:gd name="T3" fmla="*/ 2 h 14"/>
                <a:gd name="T4" fmla="*/ 1 w 23"/>
                <a:gd name="T5" fmla="*/ 11 h 14"/>
                <a:gd name="T6" fmla="*/ 0 w 23"/>
                <a:gd name="T7" fmla="*/ 14 h 14"/>
                <a:gd name="T8" fmla="*/ 16 w 23"/>
                <a:gd name="T9" fmla="*/ 11 h 14"/>
                <a:gd name="T10" fmla="*/ 23 w 23"/>
                <a:gd name="T11" fmla="*/ 1 h 14"/>
                <a:gd name="T12" fmla="*/ 22 w 23"/>
                <a:gd name="T1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4">
                  <a:moveTo>
                    <a:pt x="22" y="1"/>
                  </a:moveTo>
                  <a:cubicBezTo>
                    <a:pt x="18" y="1"/>
                    <a:pt x="8" y="0"/>
                    <a:pt x="6" y="2"/>
                  </a:cubicBezTo>
                  <a:cubicBezTo>
                    <a:pt x="3" y="6"/>
                    <a:pt x="1" y="11"/>
                    <a:pt x="1" y="11"/>
                  </a:cubicBezTo>
                  <a:cubicBezTo>
                    <a:pt x="0" y="12"/>
                    <a:pt x="0" y="13"/>
                    <a:pt x="0" y="14"/>
                  </a:cubicBezTo>
                  <a:cubicBezTo>
                    <a:pt x="0" y="14"/>
                    <a:pt x="13" y="14"/>
                    <a:pt x="16" y="11"/>
                  </a:cubicBezTo>
                  <a:cubicBezTo>
                    <a:pt x="20" y="7"/>
                    <a:pt x="21" y="4"/>
                    <a:pt x="23" y="1"/>
                  </a:cubicBezTo>
                  <a:cubicBezTo>
                    <a:pt x="23" y="1"/>
                    <a:pt x="23" y="1"/>
                    <a:pt x="2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B0F0CAD4-5C9C-4318-9B69-772A714BA0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725" y="1416050"/>
              <a:ext cx="123825" cy="104775"/>
            </a:xfrm>
            <a:custGeom>
              <a:avLst/>
              <a:gdLst>
                <a:gd name="T0" fmla="*/ 20 w 20"/>
                <a:gd name="T1" fmla="*/ 1 h 17"/>
                <a:gd name="T2" fmla="*/ 5 w 20"/>
                <a:gd name="T3" fmla="*/ 3 h 17"/>
                <a:gd name="T4" fmla="*/ 1 w 20"/>
                <a:gd name="T5" fmla="*/ 15 h 17"/>
                <a:gd name="T6" fmla="*/ 0 w 20"/>
                <a:gd name="T7" fmla="*/ 17 h 17"/>
                <a:gd name="T8" fmla="*/ 16 w 20"/>
                <a:gd name="T9" fmla="*/ 10 h 17"/>
                <a:gd name="T10" fmla="*/ 20 w 20"/>
                <a:gd name="T11" fmla="*/ 2 h 17"/>
                <a:gd name="T12" fmla="*/ 20 w 20"/>
                <a:gd name="T13" fmla="*/ 2 h 17"/>
                <a:gd name="T14" fmla="*/ 20 w 20"/>
                <a:gd name="T15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7">
                  <a:moveTo>
                    <a:pt x="20" y="1"/>
                  </a:moveTo>
                  <a:cubicBezTo>
                    <a:pt x="20" y="1"/>
                    <a:pt x="8" y="0"/>
                    <a:pt x="5" y="3"/>
                  </a:cubicBezTo>
                  <a:cubicBezTo>
                    <a:pt x="2" y="7"/>
                    <a:pt x="2" y="11"/>
                    <a:pt x="1" y="15"/>
                  </a:cubicBezTo>
                  <a:cubicBezTo>
                    <a:pt x="1" y="16"/>
                    <a:pt x="1" y="17"/>
                    <a:pt x="0" y="17"/>
                  </a:cubicBezTo>
                  <a:cubicBezTo>
                    <a:pt x="0" y="17"/>
                    <a:pt x="13" y="15"/>
                    <a:pt x="16" y="10"/>
                  </a:cubicBezTo>
                  <a:cubicBezTo>
                    <a:pt x="18" y="7"/>
                    <a:pt x="19" y="5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20" y="1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16">
              <a:extLst>
                <a:ext uri="{FF2B5EF4-FFF2-40B4-BE49-F238E27FC236}">
                  <a16:creationId xmlns:a16="http://schemas.microsoft.com/office/drawing/2014/main" id="{C8ABD39E-BDB3-47DB-8BB5-3075F66622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650" y="1322388"/>
              <a:ext cx="98425" cy="192088"/>
            </a:xfrm>
            <a:custGeom>
              <a:avLst/>
              <a:gdLst>
                <a:gd name="T0" fmla="*/ 10 w 16"/>
                <a:gd name="T1" fmla="*/ 31 h 31"/>
                <a:gd name="T2" fmla="*/ 11 w 16"/>
                <a:gd name="T3" fmla="*/ 29 h 31"/>
                <a:gd name="T4" fmla="*/ 11 w 16"/>
                <a:gd name="T5" fmla="*/ 29 h 31"/>
                <a:gd name="T6" fmla="*/ 14 w 16"/>
                <a:gd name="T7" fmla="*/ 19 h 31"/>
                <a:gd name="T8" fmla="*/ 8 w 16"/>
                <a:gd name="T9" fmla="*/ 0 h 31"/>
                <a:gd name="T10" fmla="*/ 1 w 16"/>
                <a:gd name="T11" fmla="*/ 16 h 31"/>
                <a:gd name="T12" fmla="*/ 1 w 16"/>
                <a:gd name="T13" fmla="*/ 16 h 31"/>
                <a:gd name="T14" fmla="*/ 1 w 16"/>
                <a:gd name="T15" fmla="*/ 16 h 31"/>
                <a:gd name="T16" fmla="*/ 10 w 16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31">
                  <a:moveTo>
                    <a:pt x="10" y="31"/>
                  </a:moveTo>
                  <a:cubicBezTo>
                    <a:pt x="11" y="30"/>
                    <a:pt x="11" y="30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2" y="26"/>
                    <a:pt x="13" y="23"/>
                    <a:pt x="14" y="19"/>
                  </a:cubicBezTo>
                  <a:cubicBezTo>
                    <a:pt x="16" y="12"/>
                    <a:pt x="8" y="0"/>
                    <a:pt x="8" y="0"/>
                  </a:cubicBezTo>
                  <a:cubicBezTo>
                    <a:pt x="5" y="6"/>
                    <a:pt x="2" y="8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0" y="23"/>
                    <a:pt x="10" y="31"/>
                    <a:pt x="10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6D6A23C2-8B00-46FA-B58B-C21435E633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900" y="1646238"/>
              <a:ext cx="100013" cy="166688"/>
            </a:xfrm>
            <a:custGeom>
              <a:avLst/>
              <a:gdLst>
                <a:gd name="T0" fmla="*/ 16 w 16"/>
                <a:gd name="T1" fmla="*/ 24 h 27"/>
                <a:gd name="T2" fmla="*/ 14 w 16"/>
                <a:gd name="T3" fmla="*/ 12 h 27"/>
                <a:gd name="T4" fmla="*/ 0 w 16"/>
                <a:gd name="T5" fmla="*/ 0 h 27"/>
                <a:gd name="T6" fmla="*/ 0 w 16"/>
                <a:gd name="T7" fmla="*/ 0 h 27"/>
                <a:gd name="T8" fmla="*/ 0 w 16"/>
                <a:gd name="T9" fmla="*/ 1 h 27"/>
                <a:gd name="T10" fmla="*/ 0 w 16"/>
                <a:gd name="T11" fmla="*/ 8 h 27"/>
                <a:gd name="T12" fmla="*/ 0 w 16"/>
                <a:gd name="T13" fmla="*/ 8 h 27"/>
                <a:gd name="T14" fmla="*/ 1 w 16"/>
                <a:gd name="T15" fmla="*/ 19 h 27"/>
                <a:gd name="T16" fmla="*/ 16 w 16"/>
                <a:gd name="T17" fmla="*/ 27 h 27"/>
                <a:gd name="T18" fmla="*/ 16 w 16"/>
                <a:gd name="T19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27">
                  <a:moveTo>
                    <a:pt x="16" y="24"/>
                  </a:moveTo>
                  <a:cubicBezTo>
                    <a:pt x="15" y="20"/>
                    <a:pt x="14" y="17"/>
                    <a:pt x="14" y="12"/>
                  </a:cubicBezTo>
                  <a:cubicBezTo>
                    <a:pt x="13" y="7"/>
                    <a:pt x="2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3"/>
                    <a:pt x="0" y="6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2"/>
                    <a:pt x="0" y="15"/>
                    <a:pt x="1" y="19"/>
                  </a:cubicBezTo>
                  <a:cubicBezTo>
                    <a:pt x="2" y="22"/>
                    <a:pt x="7" y="25"/>
                    <a:pt x="16" y="27"/>
                  </a:cubicBezTo>
                  <a:cubicBezTo>
                    <a:pt x="16" y="26"/>
                    <a:pt x="16" y="25"/>
                    <a:pt x="1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id="{7FCFC82D-A54B-48CA-8BFA-862DA3F6F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2250" y="1322388"/>
              <a:ext cx="98425" cy="192088"/>
            </a:xfrm>
            <a:custGeom>
              <a:avLst/>
              <a:gdLst>
                <a:gd name="T0" fmla="*/ 1 w 16"/>
                <a:gd name="T1" fmla="*/ 19 h 31"/>
                <a:gd name="T2" fmla="*/ 4 w 16"/>
                <a:gd name="T3" fmla="*/ 29 h 31"/>
                <a:gd name="T4" fmla="*/ 4 w 16"/>
                <a:gd name="T5" fmla="*/ 29 h 31"/>
                <a:gd name="T6" fmla="*/ 5 w 16"/>
                <a:gd name="T7" fmla="*/ 31 h 31"/>
                <a:gd name="T8" fmla="*/ 15 w 16"/>
                <a:gd name="T9" fmla="*/ 16 h 31"/>
                <a:gd name="T10" fmla="*/ 15 w 16"/>
                <a:gd name="T11" fmla="*/ 16 h 31"/>
                <a:gd name="T12" fmla="*/ 15 w 16"/>
                <a:gd name="T13" fmla="*/ 16 h 31"/>
                <a:gd name="T14" fmla="*/ 8 w 16"/>
                <a:gd name="T15" fmla="*/ 0 h 31"/>
                <a:gd name="T16" fmla="*/ 1 w 16"/>
                <a:gd name="T17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31">
                  <a:moveTo>
                    <a:pt x="1" y="19"/>
                  </a:moveTo>
                  <a:cubicBezTo>
                    <a:pt x="3" y="23"/>
                    <a:pt x="4" y="26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5" y="30"/>
                    <a:pt x="5" y="31"/>
                  </a:cubicBezTo>
                  <a:cubicBezTo>
                    <a:pt x="5" y="31"/>
                    <a:pt x="16" y="23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3" y="8"/>
                    <a:pt x="11" y="6"/>
                    <a:pt x="8" y="0"/>
                  </a:cubicBezTo>
                  <a:cubicBezTo>
                    <a:pt x="8" y="0"/>
                    <a:pt x="0" y="12"/>
                    <a:pt x="1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A3B76214-0FE3-4F6A-B894-5F3A9DD84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8763" y="1471613"/>
              <a:ext cx="87313" cy="192088"/>
            </a:xfrm>
            <a:custGeom>
              <a:avLst/>
              <a:gdLst>
                <a:gd name="T0" fmla="*/ 1 w 14"/>
                <a:gd name="T1" fmla="*/ 27 h 31"/>
                <a:gd name="T2" fmla="*/ 1 w 14"/>
                <a:gd name="T3" fmla="*/ 28 h 31"/>
                <a:gd name="T4" fmla="*/ 1 w 14"/>
                <a:gd name="T5" fmla="*/ 29 h 31"/>
                <a:gd name="T6" fmla="*/ 1 w 14"/>
                <a:gd name="T7" fmla="*/ 31 h 31"/>
                <a:gd name="T8" fmla="*/ 14 w 14"/>
                <a:gd name="T9" fmla="*/ 19 h 31"/>
                <a:gd name="T10" fmla="*/ 14 w 14"/>
                <a:gd name="T11" fmla="*/ 18 h 31"/>
                <a:gd name="T12" fmla="*/ 14 w 14"/>
                <a:gd name="T13" fmla="*/ 17 h 31"/>
                <a:gd name="T14" fmla="*/ 11 w 14"/>
                <a:gd name="T15" fmla="*/ 0 h 31"/>
                <a:gd name="T16" fmla="*/ 1 w 14"/>
                <a:gd name="T17" fmla="*/ 16 h 31"/>
                <a:gd name="T18" fmla="*/ 1 w 14"/>
                <a:gd name="T19" fmla="*/ 2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31">
                  <a:moveTo>
                    <a:pt x="1" y="27"/>
                  </a:moveTo>
                  <a:cubicBezTo>
                    <a:pt x="1" y="27"/>
                    <a:pt x="1" y="28"/>
                    <a:pt x="1" y="28"/>
                  </a:cubicBezTo>
                  <a:cubicBezTo>
                    <a:pt x="1" y="28"/>
                    <a:pt x="1" y="29"/>
                    <a:pt x="1" y="29"/>
                  </a:cubicBezTo>
                  <a:cubicBezTo>
                    <a:pt x="1" y="29"/>
                    <a:pt x="1" y="30"/>
                    <a:pt x="1" y="31"/>
                  </a:cubicBezTo>
                  <a:cubicBezTo>
                    <a:pt x="1" y="31"/>
                    <a:pt x="14" y="24"/>
                    <a:pt x="14" y="19"/>
                  </a:cubicBezTo>
                  <a:cubicBezTo>
                    <a:pt x="14" y="19"/>
                    <a:pt x="14" y="18"/>
                    <a:pt x="14" y="18"/>
                  </a:cubicBezTo>
                  <a:cubicBezTo>
                    <a:pt x="14" y="18"/>
                    <a:pt x="14" y="18"/>
                    <a:pt x="14" y="17"/>
                  </a:cubicBezTo>
                  <a:cubicBezTo>
                    <a:pt x="14" y="10"/>
                    <a:pt x="13" y="6"/>
                    <a:pt x="11" y="0"/>
                  </a:cubicBezTo>
                  <a:cubicBezTo>
                    <a:pt x="11" y="0"/>
                    <a:pt x="2" y="10"/>
                    <a:pt x="1" y="16"/>
                  </a:cubicBezTo>
                  <a:cubicBezTo>
                    <a:pt x="0" y="21"/>
                    <a:pt x="1" y="23"/>
                    <a:pt x="1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20">
              <a:extLst>
                <a:ext uri="{FF2B5EF4-FFF2-40B4-BE49-F238E27FC236}">
                  <a16:creationId xmlns:a16="http://schemas.microsoft.com/office/drawing/2014/main" id="{EB40D924-0F97-4B14-9C19-FF25406D7B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6063" y="1646238"/>
              <a:ext cx="106363" cy="166688"/>
            </a:xfrm>
            <a:custGeom>
              <a:avLst/>
              <a:gdLst>
                <a:gd name="T0" fmla="*/ 17 w 17"/>
                <a:gd name="T1" fmla="*/ 1 h 27"/>
                <a:gd name="T2" fmla="*/ 17 w 17"/>
                <a:gd name="T3" fmla="*/ 0 h 27"/>
                <a:gd name="T4" fmla="*/ 16 w 17"/>
                <a:gd name="T5" fmla="*/ 0 h 27"/>
                <a:gd name="T6" fmla="*/ 3 w 17"/>
                <a:gd name="T7" fmla="*/ 12 h 27"/>
                <a:gd name="T8" fmla="*/ 1 w 17"/>
                <a:gd name="T9" fmla="*/ 24 h 27"/>
                <a:gd name="T10" fmla="*/ 0 w 17"/>
                <a:gd name="T11" fmla="*/ 27 h 27"/>
                <a:gd name="T12" fmla="*/ 15 w 17"/>
                <a:gd name="T13" fmla="*/ 19 h 27"/>
                <a:gd name="T14" fmla="*/ 17 w 17"/>
                <a:gd name="T15" fmla="*/ 8 h 27"/>
                <a:gd name="T16" fmla="*/ 17 w 17"/>
                <a:gd name="T17" fmla="*/ 8 h 27"/>
                <a:gd name="T18" fmla="*/ 17 w 17"/>
                <a:gd name="T19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7">
                  <a:moveTo>
                    <a:pt x="17" y="1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4" y="1"/>
                    <a:pt x="3" y="7"/>
                    <a:pt x="3" y="12"/>
                  </a:cubicBezTo>
                  <a:cubicBezTo>
                    <a:pt x="2" y="17"/>
                    <a:pt x="2" y="20"/>
                    <a:pt x="1" y="24"/>
                  </a:cubicBezTo>
                  <a:cubicBezTo>
                    <a:pt x="0" y="25"/>
                    <a:pt x="0" y="26"/>
                    <a:pt x="0" y="27"/>
                  </a:cubicBezTo>
                  <a:cubicBezTo>
                    <a:pt x="9" y="25"/>
                    <a:pt x="14" y="22"/>
                    <a:pt x="15" y="19"/>
                  </a:cubicBezTo>
                  <a:cubicBezTo>
                    <a:pt x="16" y="15"/>
                    <a:pt x="16" y="12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6"/>
                    <a:pt x="17" y="3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21">
              <a:extLst>
                <a:ext uri="{FF2B5EF4-FFF2-40B4-BE49-F238E27FC236}">
                  <a16:creationId xmlns:a16="http://schemas.microsoft.com/office/drawing/2014/main" id="{458B7B29-092D-4456-A6BD-725101F6287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0500" y="1819275"/>
              <a:ext cx="136525" cy="130175"/>
            </a:xfrm>
            <a:custGeom>
              <a:avLst/>
              <a:gdLst>
                <a:gd name="T0" fmla="*/ 6 w 22"/>
                <a:gd name="T1" fmla="*/ 8 h 21"/>
                <a:gd name="T2" fmla="*/ 1 w 22"/>
                <a:gd name="T3" fmla="*/ 18 h 21"/>
                <a:gd name="T4" fmla="*/ 0 w 22"/>
                <a:gd name="T5" fmla="*/ 21 h 21"/>
                <a:gd name="T6" fmla="*/ 17 w 22"/>
                <a:gd name="T7" fmla="*/ 16 h 21"/>
                <a:gd name="T8" fmla="*/ 22 w 22"/>
                <a:gd name="T9" fmla="*/ 1 h 21"/>
                <a:gd name="T10" fmla="*/ 22 w 22"/>
                <a:gd name="T11" fmla="*/ 1 h 21"/>
                <a:gd name="T12" fmla="*/ 22 w 22"/>
                <a:gd name="T13" fmla="*/ 0 h 21"/>
                <a:gd name="T14" fmla="*/ 6 w 22"/>
                <a:gd name="T15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6" y="8"/>
                  </a:moveTo>
                  <a:cubicBezTo>
                    <a:pt x="4" y="12"/>
                    <a:pt x="3" y="15"/>
                    <a:pt x="1" y="18"/>
                  </a:cubicBezTo>
                  <a:cubicBezTo>
                    <a:pt x="1" y="19"/>
                    <a:pt x="0" y="20"/>
                    <a:pt x="0" y="21"/>
                  </a:cubicBezTo>
                  <a:cubicBezTo>
                    <a:pt x="0" y="21"/>
                    <a:pt x="15" y="20"/>
                    <a:pt x="17" y="16"/>
                  </a:cubicBezTo>
                  <a:cubicBezTo>
                    <a:pt x="20" y="10"/>
                    <a:pt x="21" y="7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0"/>
                    <a:pt x="22" y="0"/>
                  </a:cubicBezTo>
                  <a:cubicBezTo>
                    <a:pt x="22" y="0"/>
                    <a:pt x="8" y="3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22">
              <a:extLst>
                <a:ext uri="{FF2B5EF4-FFF2-40B4-BE49-F238E27FC236}">
                  <a16:creationId xmlns:a16="http://schemas.microsoft.com/office/drawing/2014/main" id="{FEA45B02-42C7-4FCA-B1BE-3EFA59B99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7638" y="1646238"/>
              <a:ext cx="87313" cy="160338"/>
            </a:xfrm>
            <a:custGeom>
              <a:avLst/>
              <a:gdLst>
                <a:gd name="T0" fmla="*/ 0 w 14"/>
                <a:gd name="T1" fmla="*/ 11 h 26"/>
                <a:gd name="T2" fmla="*/ 11 w 14"/>
                <a:gd name="T3" fmla="*/ 26 h 26"/>
                <a:gd name="T4" fmla="*/ 14 w 14"/>
                <a:gd name="T5" fmla="*/ 13 h 26"/>
                <a:gd name="T6" fmla="*/ 14 w 14"/>
                <a:gd name="T7" fmla="*/ 11 h 26"/>
                <a:gd name="T8" fmla="*/ 1 w 14"/>
                <a:gd name="T9" fmla="*/ 0 h 26"/>
                <a:gd name="T10" fmla="*/ 1 w 14"/>
                <a:gd name="T11" fmla="*/ 0 h 26"/>
                <a:gd name="T12" fmla="*/ 1 w 14"/>
                <a:gd name="T13" fmla="*/ 1 h 26"/>
                <a:gd name="T14" fmla="*/ 0 w 14"/>
                <a:gd name="T15" fmla="*/ 11 h 26"/>
                <a:gd name="T16" fmla="*/ 0 w 14"/>
                <a:gd name="T17" fmla="*/ 11 h 26"/>
                <a:gd name="T18" fmla="*/ 0 w 14"/>
                <a:gd name="T19" fmla="*/ 11 h 26"/>
                <a:gd name="T20" fmla="*/ 0 w 14"/>
                <a:gd name="T21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26">
                  <a:moveTo>
                    <a:pt x="0" y="11"/>
                  </a:moveTo>
                  <a:cubicBezTo>
                    <a:pt x="0" y="16"/>
                    <a:pt x="11" y="26"/>
                    <a:pt x="11" y="26"/>
                  </a:cubicBezTo>
                  <a:cubicBezTo>
                    <a:pt x="12" y="21"/>
                    <a:pt x="14" y="18"/>
                    <a:pt x="14" y="13"/>
                  </a:cubicBezTo>
                  <a:cubicBezTo>
                    <a:pt x="14" y="13"/>
                    <a:pt x="14" y="12"/>
                    <a:pt x="14" y="11"/>
                  </a:cubicBezTo>
                  <a:cubicBezTo>
                    <a:pt x="13" y="6"/>
                    <a:pt x="3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4"/>
                    <a:pt x="0" y="7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23">
              <a:extLst>
                <a:ext uri="{FF2B5EF4-FFF2-40B4-BE49-F238E27FC236}">
                  <a16:creationId xmlns:a16="http://schemas.microsoft.com/office/drawing/2014/main" id="{3B28C5CA-31C9-40DD-BC5E-3C8A21D81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1288" y="1533525"/>
              <a:ext cx="98425" cy="130175"/>
            </a:xfrm>
            <a:custGeom>
              <a:avLst/>
              <a:gdLst>
                <a:gd name="T0" fmla="*/ 14 w 16"/>
                <a:gd name="T1" fmla="*/ 6 h 21"/>
                <a:gd name="T2" fmla="*/ 0 w 16"/>
                <a:gd name="T3" fmla="*/ 0 h 21"/>
                <a:gd name="T4" fmla="*/ 0 w 16"/>
                <a:gd name="T5" fmla="*/ 6 h 21"/>
                <a:gd name="T6" fmla="*/ 0 w 16"/>
                <a:gd name="T7" fmla="*/ 6 h 21"/>
                <a:gd name="T8" fmla="*/ 0 w 16"/>
                <a:gd name="T9" fmla="*/ 6 h 21"/>
                <a:gd name="T10" fmla="*/ 1 w 16"/>
                <a:gd name="T11" fmla="*/ 10 h 21"/>
                <a:gd name="T12" fmla="*/ 15 w 16"/>
                <a:gd name="T13" fmla="*/ 21 h 21"/>
                <a:gd name="T14" fmla="*/ 15 w 16"/>
                <a:gd name="T15" fmla="*/ 19 h 21"/>
                <a:gd name="T16" fmla="*/ 15 w 16"/>
                <a:gd name="T17" fmla="*/ 18 h 21"/>
                <a:gd name="T18" fmla="*/ 15 w 16"/>
                <a:gd name="T19" fmla="*/ 17 h 21"/>
                <a:gd name="T20" fmla="*/ 14 w 16"/>
                <a:gd name="T21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1">
                  <a:moveTo>
                    <a:pt x="14" y="6"/>
                  </a:moveTo>
                  <a:cubicBezTo>
                    <a:pt x="12" y="2"/>
                    <a:pt x="0" y="0"/>
                    <a:pt x="0" y="0"/>
                  </a:cubicBezTo>
                  <a:cubicBezTo>
                    <a:pt x="0" y="2"/>
                    <a:pt x="0" y="3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1" y="8"/>
                    <a:pt x="1" y="10"/>
                  </a:cubicBezTo>
                  <a:cubicBezTo>
                    <a:pt x="3" y="14"/>
                    <a:pt x="15" y="21"/>
                    <a:pt x="15" y="21"/>
                  </a:cubicBezTo>
                  <a:cubicBezTo>
                    <a:pt x="15" y="20"/>
                    <a:pt x="15" y="20"/>
                    <a:pt x="15" y="19"/>
                  </a:cubicBezTo>
                  <a:cubicBezTo>
                    <a:pt x="15" y="19"/>
                    <a:pt x="15" y="19"/>
                    <a:pt x="15" y="18"/>
                  </a:cubicBezTo>
                  <a:cubicBezTo>
                    <a:pt x="15" y="19"/>
                    <a:pt x="15" y="17"/>
                    <a:pt x="15" y="17"/>
                  </a:cubicBezTo>
                  <a:cubicBezTo>
                    <a:pt x="15" y="13"/>
                    <a:pt x="16" y="10"/>
                    <a:pt x="1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24">
              <a:extLst>
                <a:ext uri="{FF2B5EF4-FFF2-40B4-BE49-F238E27FC236}">
                  <a16:creationId xmlns:a16="http://schemas.microsoft.com/office/drawing/2014/main" id="{04FB2926-4E02-4FBD-B7B5-7B780712F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8425" y="1416050"/>
              <a:ext cx="123825" cy="104775"/>
            </a:xfrm>
            <a:custGeom>
              <a:avLst/>
              <a:gdLst>
                <a:gd name="T0" fmla="*/ 1 w 20"/>
                <a:gd name="T1" fmla="*/ 2 h 17"/>
                <a:gd name="T2" fmla="*/ 4 w 20"/>
                <a:gd name="T3" fmla="*/ 10 h 17"/>
                <a:gd name="T4" fmla="*/ 20 w 20"/>
                <a:gd name="T5" fmla="*/ 17 h 17"/>
                <a:gd name="T6" fmla="*/ 19 w 20"/>
                <a:gd name="T7" fmla="*/ 15 h 17"/>
                <a:gd name="T8" fmla="*/ 16 w 20"/>
                <a:gd name="T9" fmla="*/ 3 h 17"/>
                <a:gd name="T10" fmla="*/ 0 w 20"/>
                <a:gd name="T11" fmla="*/ 1 h 17"/>
                <a:gd name="T12" fmla="*/ 1 w 20"/>
                <a:gd name="T13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7">
                  <a:moveTo>
                    <a:pt x="1" y="2"/>
                  </a:moveTo>
                  <a:cubicBezTo>
                    <a:pt x="2" y="5"/>
                    <a:pt x="2" y="7"/>
                    <a:pt x="4" y="10"/>
                  </a:cubicBezTo>
                  <a:cubicBezTo>
                    <a:pt x="7" y="15"/>
                    <a:pt x="20" y="17"/>
                    <a:pt x="20" y="17"/>
                  </a:cubicBezTo>
                  <a:cubicBezTo>
                    <a:pt x="20" y="17"/>
                    <a:pt x="20" y="16"/>
                    <a:pt x="19" y="15"/>
                  </a:cubicBezTo>
                  <a:cubicBezTo>
                    <a:pt x="19" y="11"/>
                    <a:pt x="18" y="7"/>
                    <a:pt x="16" y="3"/>
                  </a:cubicBezTo>
                  <a:cubicBezTo>
                    <a:pt x="13" y="0"/>
                    <a:pt x="0" y="1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25">
              <a:extLst>
                <a:ext uri="{FF2B5EF4-FFF2-40B4-BE49-F238E27FC236}">
                  <a16:creationId xmlns:a16="http://schemas.microsoft.com/office/drawing/2014/main" id="{CF67AAA5-6778-4077-99C5-7557C41375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0163" y="1309688"/>
              <a:ext cx="147638" cy="87313"/>
            </a:xfrm>
            <a:custGeom>
              <a:avLst/>
              <a:gdLst>
                <a:gd name="T0" fmla="*/ 24 w 24"/>
                <a:gd name="T1" fmla="*/ 14 h 14"/>
                <a:gd name="T2" fmla="*/ 23 w 24"/>
                <a:gd name="T3" fmla="*/ 11 h 14"/>
                <a:gd name="T4" fmla="*/ 17 w 24"/>
                <a:gd name="T5" fmla="*/ 2 h 14"/>
                <a:gd name="T6" fmla="*/ 1 w 24"/>
                <a:gd name="T7" fmla="*/ 1 h 14"/>
                <a:gd name="T8" fmla="*/ 0 w 24"/>
                <a:gd name="T9" fmla="*/ 1 h 14"/>
                <a:gd name="T10" fmla="*/ 7 w 24"/>
                <a:gd name="T11" fmla="*/ 11 h 14"/>
                <a:gd name="T12" fmla="*/ 24 w 24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4">
                  <a:moveTo>
                    <a:pt x="24" y="14"/>
                  </a:moveTo>
                  <a:cubicBezTo>
                    <a:pt x="23" y="13"/>
                    <a:pt x="23" y="12"/>
                    <a:pt x="23" y="11"/>
                  </a:cubicBezTo>
                  <a:cubicBezTo>
                    <a:pt x="23" y="11"/>
                    <a:pt x="20" y="6"/>
                    <a:pt x="17" y="2"/>
                  </a:cubicBezTo>
                  <a:cubicBezTo>
                    <a:pt x="15" y="0"/>
                    <a:pt x="5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4"/>
                    <a:pt x="4" y="7"/>
                    <a:pt x="7" y="11"/>
                  </a:cubicBezTo>
                  <a:cubicBezTo>
                    <a:pt x="10" y="14"/>
                    <a:pt x="24" y="14"/>
                    <a:pt x="24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26">
              <a:extLst>
                <a:ext uri="{FF2B5EF4-FFF2-40B4-BE49-F238E27FC236}">
                  <a16:creationId xmlns:a16="http://schemas.microsoft.com/office/drawing/2014/main" id="{0505DB3D-7F12-42C6-B200-770521AB5C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5888" y="1770063"/>
              <a:ext cx="87313" cy="166688"/>
            </a:xfrm>
            <a:custGeom>
              <a:avLst/>
              <a:gdLst>
                <a:gd name="T0" fmla="*/ 13 w 14"/>
                <a:gd name="T1" fmla="*/ 13 h 27"/>
                <a:gd name="T2" fmla="*/ 13 w 14"/>
                <a:gd name="T3" fmla="*/ 13 h 27"/>
                <a:gd name="T4" fmla="*/ 13 w 14"/>
                <a:gd name="T5" fmla="*/ 13 h 27"/>
                <a:gd name="T6" fmla="*/ 13 w 14"/>
                <a:gd name="T7" fmla="*/ 13 h 27"/>
                <a:gd name="T8" fmla="*/ 13 w 14"/>
                <a:gd name="T9" fmla="*/ 13 h 27"/>
                <a:gd name="T10" fmla="*/ 4 w 14"/>
                <a:gd name="T11" fmla="*/ 0 h 27"/>
                <a:gd name="T12" fmla="*/ 0 w 14"/>
                <a:gd name="T13" fmla="*/ 10 h 27"/>
                <a:gd name="T14" fmla="*/ 0 w 14"/>
                <a:gd name="T15" fmla="*/ 11 h 27"/>
                <a:gd name="T16" fmla="*/ 7 w 14"/>
                <a:gd name="T17" fmla="*/ 27 h 27"/>
                <a:gd name="T18" fmla="*/ 13 w 14"/>
                <a:gd name="T19" fmla="*/ 13 h 27"/>
                <a:gd name="T20" fmla="*/ 13 w 14"/>
                <a:gd name="T2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27">
                  <a:moveTo>
                    <a:pt x="13" y="13"/>
                  </a:move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7"/>
                    <a:pt x="4" y="0"/>
                    <a:pt x="4" y="0"/>
                  </a:cubicBezTo>
                  <a:cubicBezTo>
                    <a:pt x="3" y="4"/>
                    <a:pt x="1" y="5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1" y="18"/>
                    <a:pt x="7" y="27"/>
                    <a:pt x="7" y="27"/>
                  </a:cubicBezTo>
                  <a:cubicBezTo>
                    <a:pt x="10" y="23"/>
                    <a:pt x="12" y="20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27">
              <a:extLst>
                <a:ext uri="{FF2B5EF4-FFF2-40B4-BE49-F238E27FC236}">
                  <a16:creationId xmlns:a16="http://schemas.microsoft.com/office/drawing/2014/main" id="{05D7CF49-C46D-46D0-B0E1-DFA07F694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3988" y="1185863"/>
              <a:ext cx="92075" cy="198438"/>
            </a:xfrm>
            <a:custGeom>
              <a:avLst/>
              <a:gdLst>
                <a:gd name="T0" fmla="*/ 2 w 15"/>
                <a:gd name="T1" fmla="*/ 19 h 32"/>
                <a:gd name="T2" fmla="*/ 8 w 15"/>
                <a:gd name="T3" fmla="*/ 32 h 32"/>
                <a:gd name="T4" fmla="*/ 15 w 15"/>
                <a:gd name="T5" fmla="*/ 17 h 32"/>
                <a:gd name="T6" fmla="*/ 15 w 15"/>
                <a:gd name="T7" fmla="*/ 17 h 32"/>
                <a:gd name="T8" fmla="*/ 14 w 15"/>
                <a:gd name="T9" fmla="*/ 14 h 32"/>
                <a:gd name="T10" fmla="*/ 4 w 15"/>
                <a:gd name="T11" fmla="*/ 0 h 32"/>
                <a:gd name="T12" fmla="*/ 3 w 15"/>
                <a:gd name="T13" fmla="*/ 5 h 32"/>
                <a:gd name="T14" fmla="*/ 2 w 15"/>
                <a:gd name="T15" fmla="*/ 7 h 32"/>
                <a:gd name="T16" fmla="*/ 2 w 15"/>
                <a:gd name="T17" fmla="*/ 7 h 32"/>
                <a:gd name="T18" fmla="*/ 2 w 15"/>
                <a:gd name="T19" fmla="*/ 7 h 32"/>
                <a:gd name="T20" fmla="*/ 2 w 15"/>
                <a:gd name="T21" fmla="*/ 1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32">
                  <a:moveTo>
                    <a:pt x="2" y="19"/>
                  </a:moveTo>
                  <a:cubicBezTo>
                    <a:pt x="5" y="24"/>
                    <a:pt x="6" y="27"/>
                    <a:pt x="8" y="32"/>
                  </a:cubicBezTo>
                  <a:cubicBezTo>
                    <a:pt x="8" y="32"/>
                    <a:pt x="14" y="23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6"/>
                    <a:pt x="15" y="15"/>
                    <a:pt x="14" y="14"/>
                  </a:cubicBezTo>
                  <a:cubicBezTo>
                    <a:pt x="11" y="8"/>
                    <a:pt x="8" y="4"/>
                    <a:pt x="4" y="0"/>
                  </a:cubicBezTo>
                  <a:cubicBezTo>
                    <a:pt x="4" y="0"/>
                    <a:pt x="3" y="2"/>
                    <a:pt x="3" y="5"/>
                  </a:cubicBezTo>
                  <a:cubicBezTo>
                    <a:pt x="2" y="6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11"/>
                    <a:pt x="0" y="16"/>
                    <a:pt x="2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28">
              <a:extLst>
                <a:ext uri="{FF2B5EF4-FFF2-40B4-BE49-F238E27FC236}">
                  <a16:creationId xmlns:a16="http://schemas.microsoft.com/office/drawing/2014/main" id="{4048AF09-001B-470F-9963-A5BC40F49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3563" y="1446213"/>
              <a:ext cx="395288" cy="398463"/>
            </a:xfrm>
            <a:custGeom>
              <a:avLst/>
              <a:gdLst>
                <a:gd name="T0" fmla="*/ 54 w 64"/>
                <a:gd name="T1" fmla="*/ 64 h 64"/>
                <a:gd name="T2" fmla="*/ 51 w 64"/>
                <a:gd name="T3" fmla="*/ 24 h 64"/>
                <a:gd name="T4" fmla="*/ 51 w 64"/>
                <a:gd name="T5" fmla="*/ 13 h 64"/>
                <a:gd name="T6" fmla="*/ 48 w 64"/>
                <a:gd name="T7" fmla="*/ 24 h 64"/>
                <a:gd name="T8" fmla="*/ 36 w 64"/>
                <a:gd name="T9" fmla="*/ 64 h 64"/>
                <a:gd name="T10" fmla="*/ 27 w 64"/>
                <a:gd name="T11" fmla="*/ 64 h 64"/>
                <a:gd name="T12" fmla="*/ 16 w 64"/>
                <a:gd name="T13" fmla="*/ 25 h 64"/>
                <a:gd name="T14" fmla="*/ 14 w 64"/>
                <a:gd name="T15" fmla="*/ 13 h 64"/>
                <a:gd name="T16" fmla="*/ 13 w 64"/>
                <a:gd name="T17" fmla="*/ 25 h 64"/>
                <a:gd name="T18" fmla="*/ 10 w 64"/>
                <a:gd name="T19" fmla="*/ 64 h 64"/>
                <a:gd name="T20" fmla="*/ 0 w 64"/>
                <a:gd name="T21" fmla="*/ 64 h 64"/>
                <a:gd name="T22" fmla="*/ 6 w 64"/>
                <a:gd name="T23" fmla="*/ 0 h 64"/>
                <a:gd name="T24" fmla="*/ 20 w 64"/>
                <a:gd name="T25" fmla="*/ 0 h 64"/>
                <a:gd name="T26" fmla="*/ 30 w 64"/>
                <a:gd name="T27" fmla="*/ 36 h 64"/>
                <a:gd name="T28" fmla="*/ 32 w 64"/>
                <a:gd name="T29" fmla="*/ 47 h 64"/>
                <a:gd name="T30" fmla="*/ 34 w 64"/>
                <a:gd name="T31" fmla="*/ 37 h 64"/>
                <a:gd name="T32" fmla="*/ 45 w 64"/>
                <a:gd name="T33" fmla="*/ 0 h 64"/>
                <a:gd name="T34" fmla="*/ 59 w 64"/>
                <a:gd name="T35" fmla="*/ 0 h 64"/>
                <a:gd name="T36" fmla="*/ 64 w 64"/>
                <a:gd name="T37" fmla="*/ 64 h 64"/>
                <a:gd name="T38" fmla="*/ 54 w 64"/>
                <a:gd name="T3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" h="64">
                  <a:moveTo>
                    <a:pt x="54" y="64"/>
                  </a:moveTo>
                  <a:cubicBezTo>
                    <a:pt x="51" y="24"/>
                    <a:pt x="51" y="24"/>
                    <a:pt x="51" y="24"/>
                  </a:cubicBezTo>
                  <a:cubicBezTo>
                    <a:pt x="51" y="20"/>
                    <a:pt x="51" y="15"/>
                    <a:pt x="51" y="13"/>
                  </a:cubicBezTo>
                  <a:cubicBezTo>
                    <a:pt x="50" y="15"/>
                    <a:pt x="49" y="19"/>
                    <a:pt x="48" y="2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5" y="21"/>
                    <a:pt x="14" y="15"/>
                    <a:pt x="14" y="13"/>
                  </a:cubicBezTo>
                  <a:cubicBezTo>
                    <a:pt x="14" y="15"/>
                    <a:pt x="13" y="21"/>
                    <a:pt x="13" y="25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1" y="42"/>
                    <a:pt x="32" y="45"/>
                    <a:pt x="32" y="47"/>
                  </a:cubicBezTo>
                  <a:cubicBezTo>
                    <a:pt x="32" y="45"/>
                    <a:pt x="33" y="41"/>
                    <a:pt x="34" y="37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4" y="64"/>
                    <a:pt x="64" y="64"/>
                    <a:pt x="64" y="64"/>
                  </a:cubicBezTo>
                  <a:lnTo>
                    <a:pt x="54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29">
              <a:extLst>
                <a:ext uri="{FF2B5EF4-FFF2-40B4-BE49-F238E27FC236}">
                  <a16:creationId xmlns:a16="http://schemas.microsoft.com/office/drawing/2014/main" id="{915DD93A-74F9-4B5B-806F-3D47F98E51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4413" y="1446213"/>
              <a:ext cx="273050" cy="398463"/>
            </a:xfrm>
            <a:custGeom>
              <a:avLst/>
              <a:gdLst>
                <a:gd name="T0" fmla="*/ 31 w 44"/>
                <a:gd name="T1" fmla="*/ 64 h 64"/>
                <a:gd name="T2" fmla="*/ 26 w 44"/>
                <a:gd name="T3" fmla="*/ 54 h 64"/>
                <a:gd name="T4" fmla="*/ 15 w 44"/>
                <a:gd name="T5" fmla="*/ 38 h 64"/>
                <a:gd name="T6" fmla="*/ 10 w 44"/>
                <a:gd name="T7" fmla="*/ 36 h 64"/>
                <a:gd name="T8" fmla="*/ 10 w 44"/>
                <a:gd name="T9" fmla="*/ 64 h 64"/>
                <a:gd name="T10" fmla="*/ 0 w 44"/>
                <a:gd name="T11" fmla="*/ 64 h 64"/>
                <a:gd name="T12" fmla="*/ 0 w 44"/>
                <a:gd name="T13" fmla="*/ 0 h 64"/>
                <a:gd name="T14" fmla="*/ 20 w 44"/>
                <a:gd name="T15" fmla="*/ 0 h 64"/>
                <a:gd name="T16" fmla="*/ 41 w 44"/>
                <a:gd name="T17" fmla="*/ 18 h 64"/>
                <a:gd name="T18" fmla="*/ 25 w 44"/>
                <a:gd name="T19" fmla="*/ 36 h 64"/>
                <a:gd name="T20" fmla="*/ 35 w 44"/>
                <a:gd name="T21" fmla="*/ 49 h 64"/>
                <a:gd name="T22" fmla="*/ 44 w 44"/>
                <a:gd name="T23" fmla="*/ 64 h 64"/>
                <a:gd name="T24" fmla="*/ 31 w 44"/>
                <a:gd name="T25" fmla="*/ 64 h 64"/>
                <a:gd name="T26" fmla="*/ 16 w 44"/>
                <a:gd name="T27" fmla="*/ 9 h 64"/>
                <a:gd name="T28" fmla="*/ 10 w 44"/>
                <a:gd name="T29" fmla="*/ 9 h 64"/>
                <a:gd name="T30" fmla="*/ 10 w 44"/>
                <a:gd name="T31" fmla="*/ 29 h 64"/>
                <a:gd name="T32" fmla="*/ 16 w 44"/>
                <a:gd name="T33" fmla="*/ 29 h 64"/>
                <a:gd name="T34" fmla="*/ 26 w 44"/>
                <a:gd name="T35" fmla="*/ 26 h 64"/>
                <a:gd name="T36" fmla="*/ 29 w 44"/>
                <a:gd name="T37" fmla="*/ 18 h 64"/>
                <a:gd name="T38" fmla="*/ 16 w 44"/>
                <a:gd name="T39" fmla="*/ 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4" h="64">
                  <a:moveTo>
                    <a:pt x="31" y="64"/>
                  </a:moveTo>
                  <a:cubicBezTo>
                    <a:pt x="26" y="54"/>
                    <a:pt x="26" y="54"/>
                    <a:pt x="26" y="54"/>
                  </a:cubicBezTo>
                  <a:cubicBezTo>
                    <a:pt x="21" y="46"/>
                    <a:pt x="18" y="42"/>
                    <a:pt x="15" y="38"/>
                  </a:cubicBezTo>
                  <a:cubicBezTo>
                    <a:pt x="13" y="37"/>
                    <a:pt x="13" y="37"/>
                    <a:pt x="10" y="36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34" y="0"/>
                    <a:pt x="41" y="8"/>
                    <a:pt x="41" y="18"/>
                  </a:cubicBezTo>
                  <a:cubicBezTo>
                    <a:pt x="41" y="28"/>
                    <a:pt x="35" y="36"/>
                    <a:pt x="25" y="36"/>
                  </a:cubicBezTo>
                  <a:cubicBezTo>
                    <a:pt x="27" y="37"/>
                    <a:pt x="31" y="43"/>
                    <a:pt x="35" y="49"/>
                  </a:cubicBezTo>
                  <a:cubicBezTo>
                    <a:pt x="44" y="64"/>
                    <a:pt x="44" y="64"/>
                    <a:pt x="44" y="64"/>
                  </a:cubicBezTo>
                  <a:lnTo>
                    <a:pt x="31" y="64"/>
                  </a:lnTo>
                  <a:close/>
                  <a:moveTo>
                    <a:pt x="16" y="9"/>
                  </a:moveTo>
                  <a:cubicBezTo>
                    <a:pt x="10" y="9"/>
                    <a:pt x="10" y="9"/>
                    <a:pt x="10" y="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22" y="29"/>
                    <a:pt x="25" y="28"/>
                    <a:pt x="26" y="26"/>
                  </a:cubicBezTo>
                  <a:cubicBezTo>
                    <a:pt x="28" y="24"/>
                    <a:pt x="29" y="22"/>
                    <a:pt x="29" y="18"/>
                  </a:cubicBezTo>
                  <a:cubicBezTo>
                    <a:pt x="29" y="12"/>
                    <a:pt x="26" y="9"/>
                    <a:pt x="16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Freeform 30">
              <a:extLst>
                <a:ext uri="{FF2B5EF4-FFF2-40B4-BE49-F238E27FC236}">
                  <a16:creationId xmlns:a16="http://schemas.microsoft.com/office/drawing/2014/main" id="{504F19CA-414F-4D9B-A052-3742E21758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163" y="1881188"/>
              <a:ext cx="1276350" cy="465138"/>
            </a:xfrm>
            <a:custGeom>
              <a:avLst/>
              <a:gdLst>
                <a:gd name="T0" fmla="*/ 175 w 206"/>
                <a:gd name="T1" fmla="*/ 0 h 75"/>
                <a:gd name="T2" fmla="*/ 91 w 206"/>
                <a:gd name="T3" fmla="*/ 42 h 75"/>
                <a:gd name="T4" fmla="*/ 13 w 206"/>
                <a:gd name="T5" fmla="*/ 15 h 75"/>
                <a:gd name="T6" fmla="*/ 7 w 206"/>
                <a:gd name="T7" fmla="*/ 26 h 75"/>
                <a:gd name="T8" fmla="*/ 15 w 206"/>
                <a:gd name="T9" fmla="*/ 34 h 75"/>
                <a:gd name="T10" fmla="*/ 24 w 206"/>
                <a:gd name="T11" fmla="*/ 34 h 75"/>
                <a:gd name="T12" fmla="*/ 28 w 206"/>
                <a:gd name="T13" fmla="*/ 38 h 75"/>
                <a:gd name="T14" fmla="*/ 27 w 206"/>
                <a:gd name="T15" fmla="*/ 48 h 75"/>
                <a:gd name="T16" fmla="*/ 38 w 206"/>
                <a:gd name="T17" fmla="*/ 54 h 75"/>
                <a:gd name="T18" fmla="*/ 46 w 206"/>
                <a:gd name="T19" fmla="*/ 52 h 75"/>
                <a:gd name="T20" fmla="*/ 52 w 206"/>
                <a:gd name="T21" fmla="*/ 57 h 75"/>
                <a:gd name="T22" fmla="*/ 52 w 206"/>
                <a:gd name="T23" fmla="*/ 63 h 75"/>
                <a:gd name="T24" fmla="*/ 63 w 206"/>
                <a:gd name="T25" fmla="*/ 69 h 75"/>
                <a:gd name="T26" fmla="*/ 71 w 206"/>
                <a:gd name="T27" fmla="*/ 63 h 75"/>
                <a:gd name="T28" fmla="*/ 81 w 206"/>
                <a:gd name="T29" fmla="*/ 72 h 75"/>
                <a:gd name="T30" fmla="*/ 94 w 206"/>
                <a:gd name="T31" fmla="*/ 74 h 75"/>
                <a:gd name="T32" fmla="*/ 97 w 206"/>
                <a:gd name="T33" fmla="*/ 69 h 75"/>
                <a:gd name="T34" fmla="*/ 98 w 206"/>
                <a:gd name="T35" fmla="*/ 69 h 75"/>
                <a:gd name="T36" fmla="*/ 98 w 206"/>
                <a:gd name="T37" fmla="*/ 68 h 75"/>
                <a:gd name="T38" fmla="*/ 99 w 206"/>
                <a:gd name="T39" fmla="*/ 68 h 75"/>
                <a:gd name="T40" fmla="*/ 100 w 206"/>
                <a:gd name="T41" fmla="*/ 68 h 75"/>
                <a:gd name="T42" fmla="*/ 109 w 206"/>
                <a:gd name="T43" fmla="*/ 70 h 75"/>
                <a:gd name="T44" fmla="*/ 123 w 206"/>
                <a:gd name="T45" fmla="*/ 74 h 75"/>
                <a:gd name="T46" fmla="*/ 124 w 206"/>
                <a:gd name="T47" fmla="*/ 74 h 75"/>
                <a:gd name="T48" fmla="*/ 124 w 206"/>
                <a:gd name="T49" fmla="*/ 74 h 75"/>
                <a:gd name="T50" fmla="*/ 124 w 206"/>
                <a:gd name="T51" fmla="*/ 73 h 75"/>
                <a:gd name="T52" fmla="*/ 125 w 206"/>
                <a:gd name="T53" fmla="*/ 73 h 75"/>
                <a:gd name="T54" fmla="*/ 126 w 206"/>
                <a:gd name="T55" fmla="*/ 67 h 75"/>
                <a:gd name="T56" fmla="*/ 127 w 206"/>
                <a:gd name="T57" fmla="*/ 66 h 75"/>
                <a:gd name="T58" fmla="*/ 127 w 206"/>
                <a:gd name="T59" fmla="*/ 66 h 75"/>
                <a:gd name="T60" fmla="*/ 127 w 206"/>
                <a:gd name="T61" fmla="*/ 65 h 75"/>
                <a:gd name="T62" fmla="*/ 128 w 206"/>
                <a:gd name="T63" fmla="*/ 65 h 75"/>
                <a:gd name="T64" fmla="*/ 137 w 206"/>
                <a:gd name="T65" fmla="*/ 65 h 75"/>
                <a:gd name="T66" fmla="*/ 143 w 206"/>
                <a:gd name="T67" fmla="*/ 69 h 75"/>
                <a:gd name="T68" fmla="*/ 153 w 206"/>
                <a:gd name="T69" fmla="*/ 62 h 75"/>
                <a:gd name="T70" fmla="*/ 154 w 206"/>
                <a:gd name="T71" fmla="*/ 56 h 75"/>
                <a:gd name="T72" fmla="*/ 154 w 206"/>
                <a:gd name="T73" fmla="*/ 55 h 75"/>
                <a:gd name="T74" fmla="*/ 155 w 206"/>
                <a:gd name="T75" fmla="*/ 54 h 75"/>
                <a:gd name="T76" fmla="*/ 163 w 206"/>
                <a:gd name="T77" fmla="*/ 52 h 75"/>
                <a:gd name="T78" fmla="*/ 170 w 206"/>
                <a:gd name="T79" fmla="*/ 54 h 75"/>
                <a:gd name="T80" fmla="*/ 179 w 206"/>
                <a:gd name="T81" fmla="*/ 48 h 75"/>
                <a:gd name="T82" fmla="*/ 178 w 206"/>
                <a:gd name="T83" fmla="*/ 38 h 75"/>
                <a:gd name="T84" fmla="*/ 178 w 206"/>
                <a:gd name="T85" fmla="*/ 37 h 75"/>
                <a:gd name="T86" fmla="*/ 190 w 206"/>
                <a:gd name="T87" fmla="*/ 34 h 75"/>
                <a:gd name="T88" fmla="*/ 198 w 206"/>
                <a:gd name="T89" fmla="*/ 2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6" h="75">
                  <a:moveTo>
                    <a:pt x="204" y="13"/>
                  </a:moveTo>
                  <a:cubicBezTo>
                    <a:pt x="203" y="13"/>
                    <a:pt x="195" y="16"/>
                    <a:pt x="184" y="16"/>
                  </a:cubicBezTo>
                  <a:cubicBezTo>
                    <a:pt x="180" y="11"/>
                    <a:pt x="176" y="0"/>
                    <a:pt x="175" y="0"/>
                  </a:cubicBezTo>
                  <a:cubicBezTo>
                    <a:pt x="164" y="22"/>
                    <a:pt x="141" y="38"/>
                    <a:pt x="114" y="42"/>
                  </a:cubicBezTo>
                  <a:cubicBezTo>
                    <a:pt x="110" y="42"/>
                    <a:pt x="106" y="43"/>
                    <a:pt x="103" y="43"/>
                  </a:cubicBezTo>
                  <a:cubicBezTo>
                    <a:pt x="99" y="43"/>
                    <a:pt x="95" y="42"/>
                    <a:pt x="91" y="42"/>
                  </a:cubicBezTo>
                  <a:cubicBezTo>
                    <a:pt x="64" y="38"/>
                    <a:pt x="42" y="22"/>
                    <a:pt x="30" y="0"/>
                  </a:cubicBezTo>
                  <a:cubicBezTo>
                    <a:pt x="30" y="0"/>
                    <a:pt x="26" y="12"/>
                    <a:pt x="21" y="16"/>
                  </a:cubicBezTo>
                  <a:cubicBezTo>
                    <a:pt x="20" y="16"/>
                    <a:pt x="17" y="16"/>
                    <a:pt x="13" y="15"/>
                  </a:cubicBezTo>
                  <a:cubicBezTo>
                    <a:pt x="7" y="14"/>
                    <a:pt x="2" y="13"/>
                    <a:pt x="1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6"/>
                    <a:pt x="5" y="22"/>
                    <a:pt x="7" y="26"/>
                  </a:cubicBezTo>
                  <a:cubicBezTo>
                    <a:pt x="8" y="26"/>
                    <a:pt x="12" y="32"/>
                    <a:pt x="13" y="34"/>
                  </a:cubicBezTo>
                  <a:cubicBezTo>
                    <a:pt x="14" y="34"/>
                    <a:pt x="14" y="34"/>
                    <a:pt x="15" y="34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22" y="33"/>
                    <a:pt x="22" y="33"/>
                  </a:cubicBezTo>
                  <a:cubicBezTo>
                    <a:pt x="23" y="33"/>
                    <a:pt x="23" y="33"/>
                    <a:pt x="24" y="34"/>
                  </a:cubicBezTo>
                  <a:cubicBezTo>
                    <a:pt x="24" y="34"/>
                    <a:pt x="27" y="37"/>
                    <a:pt x="27" y="37"/>
                  </a:cubicBezTo>
                  <a:cubicBezTo>
                    <a:pt x="28" y="37"/>
                    <a:pt x="28" y="38"/>
                    <a:pt x="28" y="38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6" y="47"/>
                    <a:pt x="26" y="47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30" y="51"/>
                    <a:pt x="32" y="53"/>
                    <a:pt x="35" y="54"/>
                  </a:cubicBezTo>
                  <a:cubicBezTo>
                    <a:pt x="35" y="55"/>
                    <a:pt x="36" y="55"/>
                    <a:pt x="36" y="55"/>
                  </a:cubicBezTo>
                  <a:cubicBezTo>
                    <a:pt x="36" y="55"/>
                    <a:pt x="37" y="55"/>
                    <a:pt x="38" y="54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3" y="52"/>
                    <a:pt x="44" y="51"/>
                    <a:pt x="44" y="51"/>
                  </a:cubicBezTo>
                  <a:cubicBezTo>
                    <a:pt x="45" y="51"/>
                    <a:pt x="45" y="52"/>
                    <a:pt x="46" y="52"/>
                  </a:cubicBezTo>
                  <a:cubicBezTo>
                    <a:pt x="46" y="52"/>
                    <a:pt x="50" y="54"/>
                    <a:pt x="51" y="55"/>
                  </a:cubicBezTo>
                  <a:cubicBezTo>
                    <a:pt x="51" y="55"/>
                    <a:pt x="52" y="56"/>
                    <a:pt x="52" y="57"/>
                  </a:cubicBezTo>
                  <a:cubicBezTo>
                    <a:pt x="52" y="57"/>
                    <a:pt x="52" y="57"/>
                    <a:pt x="52" y="57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4"/>
                    <a:pt x="52" y="64"/>
                    <a:pt x="53" y="65"/>
                  </a:cubicBezTo>
                  <a:cubicBezTo>
                    <a:pt x="55" y="66"/>
                    <a:pt x="61" y="69"/>
                    <a:pt x="62" y="69"/>
                  </a:cubicBezTo>
                  <a:cubicBezTo>
                    <a:pt x="62" y="69"/>
                    <a:pt x="63" y="69"/>
                    <a:pt x="63" y="69"/>
                  </a:cubicBezTo>
                  <a:cubicBezTo>
                    <a:pt x="63" y="69"/>
                    <a:pt x="64" y="69"/>
                    <a:pt x="65" y="68"/>
                  </a:cubicBezTo>
                  <a:cubicBezTo>
                    <a:pt x="69" y="65"/>
                    <a:pt x="69" y="65"/>
                    <a:pt x="69" y="65"/>
                  </a:cubicBezTo>
                  <a:cubicBezTo>
                    <a:pt x="69" y="64"/>
                    <a:pt x="70" y="63"/>
                    <a:pt x="71" y="63"/>
                  </a:cubicBezTo>
                  <a:cubicBezTo>
                    <a:pt x="72" y="63"/>
                    <a:pt x="77" y="65"/>
                    <a:pt x="77" y="65"/>
                  </a:cubicBezTo>
                  <a:cubicBezTo>
                    <a:pt x="78" y="65"/>
                    <a:pt x="79" y="66"/>
                    <a:pt x="79" y="67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4"/>
                    <a:pt x="82" y="74"/>
                    <a:pt x="83" y="74"/>
                  </a:cubicBezTo>
                  <a:cubicBezTo>
                    <a:pt x="83" y="74"/>
                    <a:pt x="91" y="75"/>
                    <a:pt x="92" y="75"/>
                  </a:cubicBezTo>
                  <a:cubicBezTo>
                    <a:pt x="92" y="75"/>
                    <a:pt x="93" y="75"/>
                    <a:pt x="94" y="74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97" y="70"/>
                    <a:pt x="97" y="69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69"/>
                    <a:pt x="98" y="69"/>
                    <a:pt x="98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8"/>
                    <a:pt x="98" y="68"/>
                    <a:pt x="98" y="68"/>
                  </a:cubicBezTo>
                  <a:cubicBezTo>
                    <a:pt x="98" y="68"/>
                    <a:pt x="98" y="68"/>
                    <a:pt x="98" y="68"/>
                  </a:cubicBezTo>
                  <a:cubicBezTo>
                    <a:pt x="98" y="68"/>
                    <a:pt x="98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100" y="68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100" y="68"/>
                    <a:pt x="105" y="68"/>
                    <a:pt x="105" y="68"/>
                  </a:cubicBezTo>
                  <a:cubicBezTo>
                    <a:pt x="107" y="68"/>
                    <a:pt x="108" y="68"/>
                    <a:pt x="109" y="70"/>
                  </a:cubicBezTo>
                  <a:cubicBezTo>
                    <a:pt x="112" y="74"/>
                    <a:pt x="112" y="74"/>
                    <a:pt x="112" y="74"/>
                  </a:cubicBezTo>
                  <a:cubicBezTo>
                    <a:pt x="112" y="75"/>
                    <a:pt x="113" y="75"/>
                    <a:pt x="114" y="75"/>
                  </a:cubicBezTo>
                  <a:cubicBezTo>
                    <a:pt x="114" y="75"/>
                    <a:pt x="122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4" y="74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5" y="73"/>
                    <a:pt x="125" y="72"/>
                    <a:pt x="125" y="72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26" y="67"/>
                    <a:pt x="127" y="67"/>
                    <a:pt x="127" y="67"/>
                  </a:cubicBezTo>
                  <a:cubicBezTo>
                    <a:pt x="127" y="67"/>
                    <a:pt x="127" y="67"/>
                    <a:pt x="127" y="67"/>
                  </a:cubicBezTo>
                  <a:cubicBezTo>
                    <a:pt x="127" y="67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5"/>
                    <a:pt x="127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9" y="65"/>
                    <a:pt x="134" y="63"/>
                    <a:pt x="134" y="63"/>
                  </a:cubicBezTo>
                  <a:cubicBezTo>
                    <a:pt x="135" y="63"/>
                    <a:pt x="136" y="64"/>
                    <a:pt x="137" y="65"/>
                  </a:cubicBezTo>
                  <a:cubicBezTo>
                    <a:pt x="141" y="68"/>
                    <a:pt x="141" y="68"/>
                    <a:pt x="141" y="68"/>
                  </a:cubicBezTo>
                  <a:cubicBezTo>
                    <a:pt x="141" y="69"/>
                    <a:pt x="142" y="69"/>
                    <a:pt x="143" y="69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4" y="69"/>
                    <a:pt x="144" y="68"/>
                    <a:pt x="145" y="68"/>
                  </a:cubicBezTo>
                  <a:cubicBezTo>
                    <a:pt x="147" y="67"/>
                    <a:pt x="150" y="66"/>
                    <a:pt x="152" y="65"/>
                  </a:cubicBezTo>
                  <a:cubicBezTo>
                    <a:pt x="154" y="64"/>
                    <a:pt x="153" y="63"/>
                    <a:pt x="153" y="62"/>
                  </a:cubicBezTo>
                  <a:cubicBezTo>
                    <a:pt x="154" y="61"/>
                    <a:pt x="154" y="61"/>
                    <a:pt x="154" y="60"/>
                  </a:cubicBezTo>
                  <a:cubicBezTo>
                    <a:pt x="154" y="60"/>
                    <a:pt x="154" y="60"/>
                    <a:pt x="154" y="60"/>
                  </a:cubicBezTo>
                  <a:cubicBezTo>
                    <a:pt x="154" y="56"/>
                    <a:pt x="154" y="56"/>
                    <a:pt x="154" y="56"/>
                  </a:cubicBezTo>
                  <a:cubicBezTo>
                    <a:pt x="154" y="56"/>
                    <a:pt x="154" y="56"/>
                    <a:pt x="154" y="56"/>
                  </a:cubicBezTo>
                  <a:cubicBezTo>
                    <a:pt x="154" y="56"/>
                    <a:pt x="154" y="55"/>
                    <a:pt x="154" y="55"/>
                  </a:cubicBezTo>
                  <a:cubicBezTo>
                    <a:pt x="154" y="55"/>
                    <a:pt x="154" y="55"/>
                    <a:pt x="154" y="55"/>
                  </a:cubicBezTo>
                  <a:cubicBezTo>
                    <a:pt x="155" y="55"/>
                    <a:pt x="155" y="55"/>
                    <a:pt x="155" y="55"/>
                  </a:cubicBezTo>
                  <a:cubicBezTo>
                    <a:pt x="155" y="55"/>
                    <a:pt x="155" y="55"/>
                    <a:pt x="155" y="55"/>
                  </a:cubicBezTo>
                  <a:cubicBezTo>
                    <a:pt x="155" y="55"/>
                    <a:pt x="155" y="54"/>
                    <a:pt x="155" y="54"/>
                  </a:cubicBezTo>
                  <a:cubicBezTo>
                    <a:pt x="155" y="54"/>
                    <a:pt x="159" y="52"/>
                    <a:pt x="160" y="52"/>
                  </a:cubicBezTo>
                  <a:cubicBezTo>
                    <a:pt x="160" y="52"/>
                    <a:pt x="161" y="51"/>
                    <a:pt x="161" y="51"/>
                  </a:cubicBezTo>
                  <a:cubicBezTo>
                    <a:pt x="162" y="51"/>
                    <a:pt x="162" y="52"/>
                    <a:pt x="163" y="52"/>
                  </a:cubicBezTo>
                  <a:cubicBezTo>
                    <a:pt x="168" y="54"/>
                    <a:pt x="168" y="54"/>
                    <a:pt x="168" y="54"/>
                  </a:cubicBezTo>
                  <a:cubicBezTo>
                    <a:pt x="168" y="55"/>
                    <a:pt x="169" y="55"/>
                    <a:pt x="169" y="55"/>
                  </a:cubicBezTo>
                  <a:cubicBezTo>
                    <a:pt x="170" y="55"/>
                    <a:pt x="170" y="55"/>
                    <a:pt x="170" y="54"/>
                  </a:cubicBezTo>
                  <a:cubicBezTo>
                    <a:pt x="173" y="53"/>
                    <a:pt x="175" y="51"/>
                    <a:pt x="178" y="48"/>
                  </a:cubicBezTo>
                  <a:cubicBezTo>
                    <a:pt x="178" y="48"/>
                    <a:pt x="178" y="48"/>
                    <a:pt x="178" y="48"/>
                  </a:cubicBezTo>
                  <a:cubicBezTo>
                    <a:pt x="178" y="48"/>
                    <a:pt x="178" y="48"/>
                    <a:pt x="179" y="48"/>
                  </a:cubicBezTo>
                  <a:cubicBezTo>
                    <a:pt x="179" y="47"/>
                    <a:pt x="180" y="46"/>
                    <a:pt x="179" y="45"/>
                  </a:cubicBezTo>
                  <a:cubicBezTo>
                    <a:pt x="177" y="38"/>
                    <a:pt x="177" y="38"/>
                    <a:pt x="177" y="38"/>
                  </a:cubicBezTo>
                  <a:cubicBezTo>
                    <a:pt x="177" y="38"/>
                    <a:pt x="177" y="38"/>
                    <a:pt x="178" y="38"/>
                  </a:cubicBezTo>
                  <a:cubicBezTo>
                    <a:pt x="178" y="38"/>
                    <a:pt x="178" y="38"/>
                    <a:pt x="178" y="37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81" y="34"/>
                    <a:pt x="182" y="33"/>
                    <a:pt x="183" y="33"/>
                  </a:cubicBezTo>
                  <a:cubicBezTo>
                    <a:pt x="184" y="33"/>
                    <a:pt x="190" y="34"/>
                    <a:pt x="190" y="34"/>
                  </a:cubicBezTo>
                  <a:cubicBezTo>
                    <a:pt x="190" y="34"/>
                    <a:pt x="191" y="34"/>
                    <a:pt x="191" y="34"/>
                  </a:cubicBezTo>
                  <a:cubicBezTo>
                    <a:pt x="191" y="34"/>
                    <a:pt x="192" y="34"/>
                    <a:pt x="192" y="34"/>
                  </a:cubicBezTo>
                  <a:cubicBezTo>
                    <a:pt x="193" y="32"/>
                    <a:pt x="198" y="26"/>
                    <a:pt x="198" y="26"/>
                  </a:cubicBezTo>
                  <a:cubicBezTo>
                    <a:pt x="200" y="22"/>
                    <a:pt x="204" y="15"/>
                    <a:pt x="206" y="12"/>
                  </a:cubicBezTo>
                  <a:lnTo>
                    <a:pt x="20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0411709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AE8DCB-1406-4D8E-BBDA-3CE7401CA5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6DC8057-98BC-4F48-A79B-5BF10F6B09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800" y="1573201"/>
            <a:ext cx="10267123" cy="426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129431F-BB70-4016-9AB1-A30598EC7D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795338"/>
            <a:ext cx="11233150" cy="369332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>
                <a:solidFill>
                  <a:schemeClr val="accent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accent2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106891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bschnitt leer">
    <p:bg>
      <p:bgPr>
        <a:gradFill>
          <a:gsLst>
            <a:gs pos="20000">
              <a:schemeClr val="bg2"/>
            </a:gs>
            <a:gs pos="81000">
              <a:srgbClr val="3C701D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2D4293CE-185C-4D8A-9712-FBC5F31EB612}"/>
              </a:ext>
            </a:extLst>
          </p:cNvPr>
          <p:cNvGrpSpPr/>
          <p:nvPr userDrawn="1"/>
        </p:nvGrpSpPr>
        <p:grpSpPr>
          <a:xfrm>
            <a:off x="11408675" y="6072554"/>
            <a:ext cx="527308" cy="525522"/>
            <a:chOff x="1485900" y="944563"/>
            <a:chExt cx="1406526" cy="1401763"/>
          </a:xfrm>
          <a:solidFill>
            <a:schemeClr val="bg1"/>
          </a:solidFill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9061AFCA-6682-453C-921C-9106E1027F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6088" y="1019175"/>
              <a:ext cx="946150" cy="247650"/>
            </a:xfrm>
            <a:custGeom>
              <a:avLst/>
              <a:gdLst>
                <a:gd name="T0" fmla="*/ 76 w 153"/>
                <a:gd name="T1" fmla="*/ 0 h 40"/>
                <a:gd name="T2" fmla="*/ 0 w 153"/>
                <a:gd name="T3" fmla="*/ 35 h 40"/>
                <a:gd name="T4" fmla="*/ 0 w 153"/>
                <a:gd name="T5" fmla="*/ 39 h 40"/>
                <a:gd name="T6" fmla="*/ 4 w 153"/>
                <a:gd name="T7" fmla="*/ 39 h 40"/>
                <a:gd name="T8" fmla="*/ 76 w 153"/>
                <a:gd name="T9" fmla="*/ 6 h 40"/>
                <a:gd name="T10" fmla="*/ 149 w 153"/>
                <a:gd name="T11" fmla="*/ 40 h 40"/>
                <a:gd name="T12" fmla="*/ 153 w 153"/>
                <a:gd name="T13" fmla="*/ 40 h 40"/>
                <a:gd name="T14" fmla="*/ 153 w 153"/>
                <a:gd name="T15" fmla="*/ 36 h 40"/>
                <a:gd name="T16" fmla="*/ 76 w 153"/>
                <a:gd name="T1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40">
                  <a:moveTo>
                    <a:pt x="76" y="0"/>
                  </a:moveTo>
                  <a:cubicBezTo>
                    <a:pt x="45" y="0"/>
                    <a:pt x="18" y="12"/>
                    <a:pt x="0" y="35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21" y="18"/>
                    <a:pt x="46" y="6"/>
                    <a:pt x="76" y="6"/>
                  </a:cubicBezTo>
                  <a:cubicBezTo>
                    <a:pt x="106" y="6"/>
                    <a:pt x="131" y="18"/>
                    <a:pt x="149" y="40"/>
                  </a:cubicBezTo>
                  <a:cubicBezTo>
                    <a:pt x="153" y="40"/>
                    <a:pt x="153" y="40"/>
                    <a:pt x="153" y="40"/>
                  </a:cubicBezTo>
                  <a:cubicBezTo>
                    <a:pt x="153" y="36"/>
                    <a:pt x="153" y="36"/>
                    <a:pt x="153" y="36"/>
                  </a:cubicBezTo>
                  <a:cubicBezTo>
                    <a:pt x="135" y="13"/>
                    <a:pt x="108" y="0"/>
                    <a:pt x="7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1DCCD3B6-7030-4656-B1F0-98440EA214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9113" y="1100138"/>
              <a:ext cx="800100" cy="173038"/>
            </a:xfrm>
            <a:custGeom>
              <a:avLst/>
              <a:gdLst>
                <a:gd name="T0" fmla="*/ 127 w 129"/>
                <a:gd name="T1" fmla="*/ 26 h 28"/>
                <a:gd name="T2" fmla="*/ 64 w 129"/>
                <a:gd name="T3" fmla="*/ 0 h 28"/>
                <a:gd name="T4" fmla="*/ 1 w 129"/>
                <a:gd name="T5" fmla="*/ 26 h 28"/>
                <a:gd name="T6" fmla="*/ 1 w 129"/>
                <a:gd name="T7" fmla="*/ 26 h 28"/>
                <a:gd name="T8" fmla="*/ 0 w 129"/>
                <a:gd name="T9" fmla="*/ 28 h 28"/>
                <a:gd name="T10" fmla="*/ 8 w 129"/>
                <a:gd name="T11" fmla="*/ 28 h 28"/>
                <a:gd name="T12" fmla="*/ 64 w 129"/>
                <a:gd name="T13" fmla="*/ 6 h 28"/>
                <a:gd name="T14" fmla="*/ 121 w 129"/>
                <a:gd name="T15" fmla="*/ 28 h 28"/>
                <a:gd name="T16" fmla="*/ 129 w 129"/>
                <a:gd name="T17" fmla="*/ 28 h 28"/>
                <a:gd name="T18" fmla="*/ 127 w 129"/>
                <a:gd name="T19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9" h="28">
                  <a:moveTo>
                    <a:pt x="127" y="26"/>
                  </a:moveTo>
                  <a:cubicBezTo>
                    <a:pt x="111" y="10"/>
                    <a:pt x="89" y="0"/>
                    <a:pt x="64" y="0"/>
                  </a:cubicBezTo>
                  <a:cubicBezTo>
                    <a:pt x="40" y="0"/>
                    <a:pt x="17" y="10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7"/>
                    <a:pt x="0" y="27"/>
                    <a:pt x="0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23" y="14"/>
                    <a:pt x="43" y="6"/>
                    <a:pt x="64" y="6"/>
                  </a:cubicBezTo>
                  <a:cubicBezTo>
                    <a:pt x="86" y="6"/>
                    <a:pt x="106" y="14"/>
                    <a:pt x="121" y="28"/>
                  </a:cubicBezTo>
                  <a:cubicBezTo>
                    <a:pt x="129" y="28"/>
                    <a:pt x="129" y="28"/>
                    <a:pt x="129" y="28"/>
                  </a:cubicBezTo>
                  <a:cubicBezTo>
                    <a:pt x="128" y="27"/>
                    <a:pt x="128" y="27"/>
                    <a:pt x="12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0C7667DA-AF0F-4BFF-9083-961589EEAE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0688" y="944563"/>
              <a:ext cx="984250" cy="247650"/>
            </a:xfrm>
            <a:custGeom>
              <a:avLst/>
              <a:gdLst>
                <a:gd name="T0" fmla="*/ 159 w 159"/>
                <a:gd name="T1" fmla="*/ 32 h 40"/>
                <a:gd name="T2" fmla="*/ 79 w 159"/>
                <a:gd name="T3" fmla="*/ 0 h 40"/>
                <a:gd name="T4" fmla="*/ 0 w 159"/>
                <a:gd name="T5" fmla="*/ 32 h 40"/>
                <a:gd name="T6" fmla="*/ 1 w 159"/>
                <a:gd name="T7" fmla="*/ 39 h 40"/>
                <a:gd name="T8" fmla="*/ 79 w 159"/>
                <a:gd name="T9" fmla="*/ 5 h 40"/>
                <a:gd name="T10" fmla="*/ 159 w 159"/>
                <a:gd name="T11" fmla="*/ 40 h 40"/>
                <a:gd name="T12" fmla="*/ 159 w 159"/>
                <a:gd name="T13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40">
                  <a:moveTo>
                    <a:pt x="159" y="32"/>
                  </a:moveTo>
                  <a:cubicBezTo>
                    <a:pt x="139" y="12"/>
                    <a:pt x="111" y="0"/>
                    <a:pt x="79" y="0"/>
                  </a:cubicBezTo>
                  <a:cubicBezTo>
                    <a:pt x="48" y="0"/>
                    <a:pt x="20" y="12"/>
                    <a:pt x="0" y="32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20" y="18"/>
                    <a:pt x="48" y="5"/>
                    <a:pt x="79" y="5"/>
                  </a:cubicBezTo>
                  <a:cubicBezTo>
                    <a:pt x="111" y="5"/>
                    <a:pt x="139" y="18"/>
                    <a:pt x="159" y="40"/>
                  </a:cubicBezTo>
                  <a:lnTo>
                    <a:pt x="159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F3EDFD00-49FB-478E-BA89-008FAF2F4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263" y="1185863"/>
              <a:ext cx="85725" cy="198438"/>
            </a:xfrm>
            <a:custGeom>
              <a:avLst/>
              <a:gdLst>
                <a:gd name="T0" fmla="*/ 0 w 14"/>
                <a:gd name="T1" fmla="*/ 17 h 32"/>
                <a:gd name="T2" fmla="*/ 6 w 14"/>
                <a:gd name="T3" fmla="*/ 32 h 32"/>
                <a:gd name="T4" fmla="*/ 13 w 14"/>
                <a:gd name="T5" fmla="*/ 19 h 32"/>
                <a:gd name="T6" fmla="*/ 12 w 14"/>
                <a:gd name="T7" fmla="*/ 7 h 32"/>
                <a:gd name="T8" fmla="*/ 12 w 14"/>
                <a:gd name="T9" fmla="*/ 7 h 32"/>
                <a:gd name="T10" fmla="*/ 12 w 14"/>
                <a:gd name="T11" fmla="*/ 7 h 32"/>
                <a:gd name="T12" fmla="*/ 12 w 14"/>
                <a:gd name="T13" fmla="*/ 5 h 32"/>
                <a:gd name="T14" fmla="*/ 10 w 14"/>
                <a:gd name="T15" fmla="*/ 0 h 32"/>
                <a:gd name="T16" fmla="*/ 0 w 14"/>
                <a:gd name="T17" fmla="*/ 14 h 32"/>
                <a:gd name="T18" fmla="*/ 0 w 14"/>
                <a:gd name="T19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32">
                  <a:moveTo>
                    <a:pt x="0" y="17"/>
                  </a:moveTo>
                  <a:cubicBezTo>
                    <a:pt x="0" y="23"/>
                    <a:pt x="6" y="32"/>
                    <a:pt x="6" y="32"/>
                  </a:cubicBezTo>
                  <a:cubicBezTo>
                    <a:pt x="8" y="27"/>
                    <a:pt x="9" y="24"/>
                    <a:pt x="13" y="19"/>
                  </a:cubicBezTo>
                  <a:cubicBezTo>
                    <a:pt x="14" y="16"/>
                    <a:pt x="13" y="11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6"/>
                    <a:pt x="12" y="5"/>
                  </a:cubicBezTo>
                  <a:cubicBezTo>
                    <a:pt x="11" y="2"/>
                    <a:pt x="10" y="0"/>
                    <a:pt x="10" y="0"/>
                  </a:cubicBezTo>
                  <a:cubicBezTo>
                    <a:pt x="6" y="4"/>
                    <a:pt x="3" y="8"/>
                    <a:pt x="0" y="14"/>
                  </a:cubicBezTo>
                  <a:cubicBezTo>
                    <a:pt x="0" y="15"/>
                    <a:pt x="0" y="16"/>
                    <a:pt x="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D0E8A831-D288-4A82-85FF-58748FB842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900" y="1471613"/>
              <a:ext cx="87313" cy="192088"/>
            </a:xfrm>
            <a:custGeom>
              <a:avLst/>
              <a:gdLst>
                <a:gd name="T0" fmla="*/ 0 w 14"/>
                <a:gd name="T1" fmla="*/ 18 h 31"/>
                <a:gd name="T2" fmla="*/ 0 w 14"/>
                <a:gd name="T3" fmla="*/ 19 h 31"/>
                <a:gd name="T4" fmla="*/ 13 w 14"/>
                <a:gd name="T5" fmla="*/ 31 h 31"/>
                <a:gd name="T6" fmla="*/ 13 w 14"/>
                <a:gd name="T7" fmla="*/ 29 h 31"/>
                <a:gd name="T8" fmla="*/ 13 w 14"/>
                <a:gd name="T9" fmla="*/ 28 h 31"/>
                <a:gd name="T10" fmla="*/ 13 w 14"/>
                <a:gd name="T11" fmla="*/ 27 h 31"/>
                <a:gd name="T12" fmla="*/ 14 w 14"/>
                <a:gd name="T13" fmla="*/ 16 h 31"/>
                <a:gd name="T14" fmla="*/ 3 w 14"/>
                <a:gd name="T15" fmla="*/ 0 h 31"/>
                <a:gd name="T16" fmla="*/ 0 w 14"/>
                <a:gd name="T17" fmla="*/ 17 h 31"/>
                <a:gd name="T18" fmla="*/ 0 w 14"/>
                <a:gd name="T19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31">
                  <a:moveTo>
                    <a:pt x="0" y="18"/>
                  </a:moveTo>
                  <a:cubicBezTo>
                    <a:pt x="0" y="18"/>
                    <a:pt x="0" y="19"/>
                    <a:pt x="0" y="19"/>
                  </a:cubicBezTo>
                  <a:cubicBezTo>
                    <a:pt x="0" y="24"/>
                    <a:pt x="13" y="31"/>
                    <a:pt x="13" y="31"/>
                  </a:cubicBezTo>
                  <a:cubicBezTo>
                    <a:pt x="13" y="30"/>
                    <a:pt x="13" y="29"/>
                    <a:pt x="13" y="29"/>
                  </a:cubicBezTo>
                  <a:cubicBezTo>
                    <a:pt x="13" y="29"/>
                    <a:pt x="13" y="28"/>
                    <a:pt x="13" y="28"/>
                  </a:cubicBezTo>
                  <a:cubicBezTo>
                    <a:pt x="13" y="28"/>
                    <a:pt x="13" y="27"/>
                    <a:pt x="13" y="27"/>
                  </a:cubicBezTo>
                  <a:cubicBezTo>
                    <a:pt x="13" y="23"/>
                    <a:pt x="14" y="21"/>
                    <a:pt x="14" y="16"/>
                  </a:cubicBezTo>
                  <a:cubicBezTo>
                    <a:pt x="12" y="10"/>
                    <a:pt x="3" y="0"/>
                    <a:pt x="3" y="0"/>
                  </a:cubicBezTo>
                  <a:cubicBezTo>
                    <a:pt x="2" y="6"/>
                    <a:pt x="0" y="10"/>
                    <a:pt x="0" y="17"/>
                  </a:cubicBezTo>
                  <a:cubicBezTo>
                    <a:pt x="0" y="18"/>
                    <a:pt x="0" y="18"/>
                    <a:pt x="0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6841936A-6E39-4A8E-AF1C-134CA40377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4950" y="1819275"/>
              <a:ext cx="136525" cy="130175"/>
            </a:xfrm>
            <a:custGeom>
              <a:avLst/>
              <a:gdLst>
                <a:gd name="T0" fmla="*/ 16 w 22"/>
                <a:gd name="T1" fmla="*/ 8 h 21"/>
                <a:gd name="T2" fmla="*/ 0 w 22"/>
                <a:gd name="T3" fmla="*/ 0 h 21"/>
                <a:gd name="T4" fmla="*/ 1 w 22"/>
                <a:gd name="T5" fmla="*/ 1 h 21"/>
                <a:gd name="T6" fmla="*/ 1 w 22"/>
                <a:gd name="T7" fmla="*/ 1 h 21"/>
                <a:gd name="T8" fmla="*/ 5 w 22"/>
                <a:gd name="T9" fmla="*/ 16 h 21"/>
                <a:gd name="T10" fmla="*/ 22 w 22"/>
                <a:gd name="T11" fmla="*/ 21 h 21"/>
                <a:gd name="T12" fmla="*/ 21 w 22"/>
                <a:gd name="T13" fmla="*/ 18 h 21"/>
                <a:gd name="T14" fmla="*/ 16 w 22"/>
                <a:gd name="T15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6" y="8"/>
                  </a:moveTo>
                  <a:cubicBezTo>
                    <a:pt x="14" y="3"/>
                    <a:pt x="0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7"/>
                    <a:pt x="2" y="10"/>
                    <a:pt x="5" y="16"/>
                  </a:cubicBezTo>
                  <a:cubicBezTo>
                    <a:pt x="7" y="20"/>
                    <a:pt x="22" y="21"/>
                    <a:pt x="22" y="21"/>
                  </a:cubicBezTo>
                  <a:cubicBezTo>
                    <a:pt x="22" y="20"/>
                    <a:pt x="21" y="19"/>
                    <a:pt x="21" y="18"/>
                  </a:cubicBezTo>
                  <a:cubicBezTo>
                    <a:pt x="19" y="15"/>
                    <a:pt x="18" y="12"/>
                    <a:pt x="1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E60E67C4-EDDF-4E69-A008-57C68096B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5125" y="1770063"/>
              <a:ext cx="80963" cy="166688"/>
            </a:xfrm>
            <a:custGeom>
              <a:avLst/>
              <a:gdLst>
                <a:gd name="T0" fmla="*/ 0 w 13"/>
                <a:gd name="T1" fmla="*/ 13 h 27"/>
                <a:gd name="T2" fmla="*/ 0 w 13"/>
                <a:gd name="T3" fmla="*/ 13 h 27"/>
                <a:gd name="T4" fmla="*/ 0 w 13"/>
                <a:gd name="T5" fmla="*/ 13 h 27"/>
                <a:gd name="T6" fmla="*/ 0 w 13"/>
                <a:gd name="T7" fmla="*/ 13 h 27"/>
                <a:gd name="T8" fmla="*/ 0 w 13"/>
                <a:gd name="T9" fmla="*/ 13 h 27"/>
                <a:gd name="T10" fmla="*/ 0 w 13"/>
                <a:gd name="T11" fmla="*/ 13 h 27"/>
                <a:gd name="T12" fmla="*/ 6 w 13"/>
                <a:gd name="T13" fmla="*/ 27 h 27"/>
                <a:gd name="T14" fmla="*/ 13 w 13"/>
                <a:gd name="T15" fmla="*/ 11 h 27"/>
                <a:gd name="T16" fmla="*/ 13 w 13"/>
                <a:gd name="T17" fmla="*/ 10 h 27"/>
                <a:gd name="T18" fmla="*/ 10 w 13"/>
                <a:gd name="T19" fmla="*/ 0 h 27"/>
                <a:gd name="T20" fmla="*/ 0 w 13"/>
                <a:gd name="T2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27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20"/>
                    <a:pt x="4" y="23"/>
                    <a:pt x="6" y="27"/>
                  </a:cubicBezTo>
                  <a:cubicBezTo>
                    <a:pt x="6" y="27"/>
                    <a:pt x="12" y="18"/>
                    <a:pt x="13" y="11"/>
                  </a:cubicBezTo>
                  <a:cubicBezTo>
                    <a:pt x="13" y="11"/>
                    <a:pt x="13" y="10"/>
                    <a:pt x="13" y="10"/>
                  </a:cubicBezTo>
                  <a:cubicBezTo>
                    <a:pt x="13" y="5"/>
                    <a:pt x="11" y="4"/>
                    <a:pt x="10" y="0"/>
                  </a:cubicBezTo>
                  <a:cubicBezTo>
                    <a:pt x="10" y="0"/>
                    <a:pt x="0" y="7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5C974071-2DF7-499F-BEA1-A900C5CD70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8613" y="1646238"/>
              <a:ext cx="85725" cy="160338"/>
            </a:xfrm>
            <a:custGeom>
              <a:avLst/>
              <a:gdLst>
                <a:gd name="T0" fmla="*/ 14 w 14"/>
                <a:gd name="T1" fmla="*/ 1 h 26"/>
                <a:gd name="T2" fmla="*/ 14 w 14"/>
                <a:gd name="T3" fmla="*/ 0 h 26"/>
                <a:gd name="T4" fmla="*/ 13 w 14"/>
                <a:gd name="T5" fmla="*/ 0 h 26"/>
                <a:gd name="T6" fmla="*/ 0 w 14"/>
                <a:gd name="T7" fmla="*/ 11 h 26"/>
                <a:gd name="T8" fmla="*/ 0 w 14"/>
                <a:gd name="T9" fmla="*/ 13 h 26"/>
                <a:gd name="T10" fmla="*/ 4 w 14"/>
                <a:gd name="T11" fmla="*/ 26 h 26"/>
                <a:gd name="T12" fmla="*/ 14 w 14"/>
                <a:gd name="T13" fmla="*/ 11 h 26"/>
                <a:gd name="T14" fmla="*/ 14 w 14"/>
                <a:gd name="T15" fmla="*/ 11 h 26"/>
                <a:gd name="T16" fmla="*/ 14 w 14"/>
                <a:gd name="T17" fmla="*/ 11 h 26"/>
                <a:gd name="T18" fmla="*/ 14 w 14"/>
                <a:gd name="T19" fmla="*/ 11 h 26"/>
                <a:gd name="T20" fmla="*/ 14 w 14"/>
                <a:gd name="T21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26">
                  <a:moveTo>
                    <a:pt x="14" y="1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1" y="1"/>
                    <a:pt x="1" y="6"/>
                    <a:pt x="0" y="11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8"/>
                    <a:pt x="2" y="21"/>
                    <a:pt x="4" y="26"/>
                  </a:cubicBezTo>
                  <a:cubicBezTo>
                    <a:pt x="4" y="26"/>
                    <a:pt x="14" y="16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7"/>
                    <a:pt x="14" y="4"/>
                    <a:pt x="1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7FC1A82C-1373-4F5B-8CC0-CFB797B09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263" y="1533525"/>
              <a:ext cx="104775" cy="130175"/>
            </a:xfrm>
            <a:custGeom>
              <a:avLst/>
              <a:gdLst>
                <a:gd name="T0" fmla="*/ 17 w 17"/>
                <a:gd name="T1" fmla="*/ 0 h 21"/>
                <a:gd name="T2" fmla="*/ 2 w 17"/>
                <a:gd name="T3" fmla="*/ 6 h 21"/>
                <a:gd name="T4" fmla="*/ 1 w 17"/>
                <a:gd name="T5" fmla="*/ 17 h 21"/>
                <a:gd name="T6" fmla="*/ 1 w 17"/>
                <a:gd name="T7" fmla="*/ 18 h 21"/>
                <a:gd name="T8" fmla="*/ 1 w 17"/>
                <a:gd name="T9" fmla="*/ 19 h 21"/>
                <a:gd name="T10" fmla="*/ 1 w 17"/>
                <a:gd name="T11" fmla="*/ 21 h 21"/>
                <a:gd name="T12" fmla="*/ 15 w 17"/>
                <a:gd name="T13" fmla="*/ 10 h 21"/>
                <a:gd name="T14" fmla="*/ 16 w 17"/>
                <a:gd name="T15" fmla="*/ 6 h 21"/>
                <a:gd name="T16" fmla="*/ 16 w 17"/>
                <a:gd name="T17" fmla="*/ 6 h 21"/>
                <a:gd name="T18" fmla="*/ 16 w 17"/>
                <a:gd name="T19" fmla="*/ 6 h 21"/>
                <a:gd name="T20" fmla="*/ 17 w 17"/>
                <a:gd name="T2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21">
                  <a:moveTo>
                    <a:pt x="17" y="0"/>
                  </a:moveTo>
                  <a:cubicBezTo>
                    <a:pt x="17" y="0"/>
                    <a:pt x="4" y="2"/>
                    <a:pt x="2" y="6"/>
                  </a:cubicBezTo>
                  <a:cubicBezTo>
                    <a:pt x="0" y="10"/>
                    <a:pt x="1" y="13"/>
                    <a:pt x="1" y="17"/>
                  </a:cubicBezTo>
                  <a:cubicBezTo>
                    <a:pt x="1" y="17"/>
                    <a:pt x="1" y="19"/>
                    <a:pt x="1" y="18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20"/>
                    <a:pt x="1" y="20"/>
                    <a:pt x="1" y="21"/>
                  </a:cubicBezTo>
                  <a:cubicBezTo>
                    <a:pt x="1" y="21"/>
                    <a:pt x="13" y="14"/>
                    <a:pt x="15" y="10"/>
                  </a:cubicBezTo>
                  <a:cubicBezTo>
                    <a:pt x="16" y="8"/>
                    <a:pt x="16" y="7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3"/>
                    <a:pt x="16" y="2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D8C1E1F1-DC89-46C5-9210-835B5A0D6B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0525" y="1309688"/>
              <a:ext cx="141288" cy="87313"/>
            </a:xfrm>
            <a:custGeom>
              <a:avLst/>
              <a:gdLst>
                <a:gd name="T0" fmla="*/ 22 w 23"/>
                <a:gd name="T1" fmla="*/ 1 h 14"/>
                <a:gd name="T2" fmla="*/ 6 w 23"/>
                <a:gd name="T3" fmla="*/ 2 h 14"/>
                <a:gd name="T4" fmla="*/ 1 w 23"/>
                <a:gd name="T5" fmla="*/ 11 h 14"/>
                <a:gd name="T6" fmla="*/ 0 w 23"/>
                <a:gd name="T7" fmla="*/ 14 h 14"/>
                <a:gd name="T8" fmla="*/ 16 w 23"/>
                <a:gd name="T9" fmla="*/ 11 h 14"/>
                <a:gd name="T10" fmla="*/ 23 w 23"/>
                <a:gd name="T11" fmla="*/ 1 h 14"/>
                <a:gd name="T12" fmla="*/ 22 w 23"/>
                <a:gd name="T1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4">
                  <a:moveTo>
                    <a:pt x="22" y="1"/>
                  </a:moveTo>
                  <a:cubicBezTo>
                    <a:pt x="18" y="1"/>
                    <a:pt x="8" y="0"/>
                    <a:pt x="6" y="2"/>
                  </a:cubicBezTo>
                  <a:cubicBezTo>
                    <a:pt x="3" y="6"/>
                    <a:pt x="1" y="11"/>
                    <a:pt x="1" y="11"/>
                  </a:cubicBezTo>
                  <a:cubicBezTo>
                    <a:pt x="0" y="12"/>
                    <a:pt x="0" y="13"/>
                    <a:pt x="0" y="14"/>
                  </a:cubicBezTo>
                  <a:cubicBezTo>
                    <a:pt x="0" y="14"/>
                    <a:pt x="13" y="14"/>
                    <a:pt x="16" y="11"/>
                  </a:cubicBezTo>
                  <a:cubicBezTo>
                    <a:pt x="20" y="7"/>
                    <a:pt x="21" y="4"/>
                    <a:pt x="23" y="1"/>
                  </a:cubicBezTo>
                  <a:cubicBezTo>
                    <a:pt x="23" y="1"/>
                    <a:pt x="23" y="1"/>
                    <a:pt x="2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15">
              <a:extLst>
                <a:ext uri="{FF2B5EF4-FFF2-40B4-BE49-F238E27FC236}">
                  <a16:creationId xmlns:a16="http://schemas.microsoft.com/office/drawing/2014/main" id="{E318DE15-04C6-4C35-8537-B57813BB6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725" y="1416050"/>
              <a:ext cx="123825" cy="104775"/>
            </a:xfrm>
            <a:custGeom>
              <a:avLst/>
              <a:gdLst>
                <a:gd name="T0" fmla="*/ 20 w 20"/>
                <a:gd name="T1" fmla="*/ 1 h 17"/>
                <a:gd name="T2" fmla="*/ 5 w 20"/>
                <a:gd name="T3" fmla="*/ 3 h 17"/>
                <a:gd name="T4" fmla="*/ 1 w 20"/>
                <a:gd name="T5" fmla="*/ 15 h 17"/>
                <a:gd name="T6" fmla="*/ 0 w 20"/>
                <a:gd name="T7" fmla="*/ 17 h 17"/>
                <a:gd name="T8" fmla="*/ 16 w 20"/>
                <a:gd name="T9" fmla="*/ 10 h 17"/>
                <a:gd name="T10" fmla="*/ 20 w 20"/>
                <a:gd name="T11" fmla="*/ 2 h 17"/>
                <a:gd name="T12" fmla="*/ 20 w 20"/>
                <a:gd name="T13" fmla="*/ 2 h 17"/>
                <a:gd name="T14" fmla="*/ 20 w 20"/>
                <a:gd name="T15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7">
                  <a:moveTo>
                    <a:pt x="20" y="1"/>
                  </a:moveTo>
                  <a:cubicBezTo>
                    <a:pt x="20" y="1"/>
                    <a:pt x="8" y="0"/>
                    <a:pt x="5" y="3"/>
                  </a:cubicBezTo>
                  <a:cubicBezTo>
                    <a:pt x="2" y="7"/>
                    <a:pt x="2" y="11"/>
                    <a:pt x="1" y="15"/>
                  </a:cubicBezTo>
                  <a:cubicBezTo>
                    <a:pt x="1" y="16"/>
                    <a:pt x="1" y="17"/>
                    <a:pt x="0" y="17"/>
                  </a:cubicBezTo>
                  <a:cubicBezTo>
                    <a:pt x="0" y="17"/>
                    <a:pt x="13" y="15"/>
                    <a:pt x="16" y="10"/>
                  </a:cubicBezTo>
                  <a:cubicBezTo>
                    <a:pt x="18" y="7"/>
                    <a:pt x="19" y="5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20" y="1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16">
              <a:extLst>
                <a:ext uri="{FF2B5EF4-FFF2-40B4-BE49-F238E27FC236}">
                  <a16:creationId xmlns:a16="http://schemas.microsoft.com/office/drawing/2014/main" id="{EAAABED8-884B-4EB8-8B51-E433509476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650" y="1322388"/>
              <a:ext cx="98425" cy="192088"/>
            </a:xfrm>
            <a:custGeom>
              <a:avLst/>
              <a:gdLst>
                <a:gd name="T0" fmla="*/ 10 w 16"/>
                <a:gd name="T1" fmla="*/ 31 h 31"/>
                <a:gd name="T2" fmla="*/ 11 w 16"/>
                <a:gd name="T3" fmla="*/ 29 h 31"/>
                <a:gd name="T4" fmla="*/ 11 w 16"/>
                <a:gd name="T5" fmla="*/ 29 h 31"/>
                <a:gd name="T6" fmla="*/ 14 w 16"/>
                <a:gd name="T7" fmla="*/ 19 h 31"/>
                <a:gd name="T8" fmla="*/ 8 w 16"/>
                <a:gd name="T9" fmla="*/ 0 h 31"/>
                <a:gd name="T10" fmla="*/ 1 w 16"/>
                <a:gd name="T11" fmla="*/ 16 h 31"/>
                <a:gd name="T12" fmla="*/ 1 w 16"/>
                <a:gd name="T13" fmla="*/ 16 h 31"/>
                <a:gd name="T14" fmla="*/ 1 w 16"/>
                <a:gd name="T15" fmla="*/ 16 h 31"/>
                <a:gd name="T16" fmla="*/ 10 w 16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31">
                  <a:moveTo>
                    <a:pt x="10" y="31"/>
                  </a:moveTo>
                  <a:cubicBezTo>
                    <a:pt x="11" y="30"/>
                    <a:pt x="11" y="30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2" y="26"/>
                    <a:pt x="13" y="23"/>
                    <a:pt x="14" y="19"/>
                  </a:cubicBezTo>
                  <a:cubicBezTo>
                    <a:pt x="16" y="12"/>
                    <a:pt x="8" y="0"/>
                    <a:pt x="8" y="0"/>
                  </a:cubicBezTo>
                  <a:cubicBezTo>
                    <a:pt x="5" y="6"/>
                    <a:pt x="2" y="8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0" y="23"/>
                    <a:pt x="10" y="31"/>
                    <a:pt x="10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17">
              <a:extLst>
                <a:ext uri="{FF2B5EF4-FFF2-40B4-BE49-F238E27FC236}">
                  <a16:creationId xmlns:a16="http://schemas.microsoft.com/office/drawing/2014/main" id="{C5949DEB-55AF-42DA-A4DA-5790FEBD88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900" y="1646238"/>
              <a:ext cx="100013" cy="166688"/>
            </a:xfrm>
            <a:custGeom>
              <a:avLst/>
              <a:gdLst>
                <a:gd name="T0" fmla="*/ 16 w 16"/>
                <a:gd name="T1" fmla="*/ 24 h 27"/>
                <a:gd name="T2" fmla="*/ 14 w 16"/>
                <a:gd name="T3" fmla="*/ 12 h 27"/>
                <a:gd name="T4" fmla="*/ 0 w 16"/>
                <a:gd name="T5" fmla="*/ 0 h 27"/>
                <a:gd name="T6" fmla="*/ 0 w 16"/>
                <a:gd name="T7" fmla="*/ 0 h 27"/>
                <a:gd name="T8" fmla="*/ 0 w 16"/>
                <a:gd name="T9" fmla="*/ 1 h 27"/>
                <a:gd name="T10" fmla="*/ 0 w 16"/>
                <a:gd name="T11" fmla="*/ 8 h 27"/>
                <a:gd name="T12" fmla="*/ 0 w 16"/>
                <a:gd name="T13" fmla="*/ 8 h 27"/>
                <a:gd name="T14" fmla="*/ 1 w 16"/>
                <a:gd name="T15" fmla="*/ 19 h 27"/>
                <a:gd name="T16" fmla="*/ 16 w 16"/>
                <a:gd name="T17" fmla="*/ 27 h 27"/>
                <a:gd name="T18" fmla="*/ 16 w 16"/>
                <a:gd name="T19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27">
                  <a:moveTo>
                    <a:pt x="16" y="24"/>
                  </a:moveTo>
                  <a:cubicBezTo>
                    <a:pt x="15" y="20"/>
                    <a:pt x="14" y="17"/>
                    <a:pt x="14" y="12"/>
                  </a:cubicBezTo>
                  <a:cubicBezTo>
                    <a:pt x="13" y="7"/>
                    <a:pt x="2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3"/>
                    <a:pt x="0" y="6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2"/>
                    <a:pt x="0" y="15"/>
                    <a:pt x="1" y="19"/>
                  </a:cubicBezTo>
                  <a:cubicBezTo>
                    <a:pt x="2" y="22"/>
                    <a:pt x="7" y="25"/>
                    <a:pt x="16" y="27"/>
                  </a:cubicBezTo>
                  <a:cubicBezTo>
                    <a:pt x="16" y="26"/>
                    <a:pt x="16" y="25"/>
                    <a:pt x="1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18">
              <a:extLst>
                <a:ext uri="{FF2B5EF4-FFF2-40B4-BE49-F238E27FC236}">
                  <a16:creationId xmlns:a16="http://schemas.microsoft.com/office/drawing/2014/main" id="{D6B6B644-0D12-405A-AA21-31207155E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2250" y="1322388"/>
              <a:ext cx="98425" cy="192088"/>
            </a:xfrm>
            <a:custGeom>
              <a:avLst/>
              <a:gdLst>
                <a:gd name="T0" fmla="*/ 1 w 16"/>
                <a:gd name="T1" fmla="*/ 19 h 31"/>
                <a:gd name="T2" fmla="*/ 4 w 16"/>
                <a:gd name="T3" fmla="*/ 29 h 31"/>
                <a:gd name="T4" fmla="*/ 4 w 16"/>
                <a:gd name="T5" fmla="*/ 29 h 31"/>
                <a:gd name="T6" fmla="*/ 5 w 16"/>
                <a:gd name="T7" fmla="*/ 31 h 31"/>
                <a:gd name="T8" fmla="*/ 15 w 16"/>
                <a:gd name="T9" fmla="*/ 16 h 31"/>
                <a:gd name="T10" fmla="*/ 15 w 16"/>
                <a:gd name="T11" fmla="*/ 16 h 31"/>
                <a:gd name="T12" fmla="*/ 15 w 16"/>
                <a:gd name="T13" fmla="*/ 16 h 31"/>
                <a:gd name="T14" fmla="*/ 8 w 16"/>
                <a:gd name="T15" fmla="*/ 0 h 31"/>
                <a:gd name="T16" fmla="*/ 1 w 16"/>
                <a:gd name="T17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31">
                  <a:moveTo>
                    <a:pt x="1" y="19"/>
                  </a:moveTo>
                  <a:cubicBezTo>
                    <a:pt x="3" y="23"/>
                    <a:pt x="4" y="26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5" y="30"/>
                    <a:pt x="5" y="31"/>
                  </a:cubicBezTo>
                  <a:cubicBezTo>
                    <a:pt x="5" y="31"/>
                    <a:pt x="16" y="23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3" y="8"/>
                    <a:pt x="11" y="6"/>
                    <a:pt x="8" y="0"/>
                  </a:cubicBezTo>
                  <a:cubicBezTo>
                    <a:pt x="8" y="0"/>
                    <a:pt x="0" y="12"/>
                    <a:pt x="1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19">
              <a:extLst>
                <a:ext uri="{FF2B5EF4-FFF2-40B4-BE49-F238E27FC236}">
                  <a16:creationId xmlns:a16="http://schemas.microsoft.com/office/drawing/2014/main" id="{B9956C94-BE9A-439C-8E31-92ED3BCD45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8763" y="1471613"/>
              <a:ext cx="87313" cy="192088"/>
            </a:xfrm>
            <a:custGeom>
              <a:avLst/>
              <a:gdLst>
                <a:gd name="T0" fmla="*/ 1 w 14"/>
                <a:gd name="T1" fmla="*/ 27 h 31"/>
                <a:gd name="T2" fmla="*/ 1 w 14"/>
                <a:gd name="T3" fmla="*/ 28 h 31"/>
                <a:gd name="T4" fmla="*/ 1 w 14"/>
                <a:gd name="T5" fmla="*/ 29 h 31"/>
                <a:gd name="T6" fmla="*/ 1 w 14"/>
                <a:gd name="T7" fmla="*/ 31 h 31"/>
                <a:gd name="T8" fmla="*/ 14 w 14"/>
                <a:gd name="T9" fmla="*/ 19 h 31"/>
                <a:gd name="T10" fmla="*/ 14 w 14"/>
                <a:gd name="T11" fmla="*/ 18 h 31"/>
                <a:gd name="T12" fmla="*/ 14 w 14"/>
                <a:gd name="T13" fmla="*/ 17 h 31"/>
                <a:gd name="T14" fmla="*/ 11 w 14"/>
                <a:gd name="T15" fmla="*/ 0 h 31"/>
                <a:gd name="T16" fmla="*/ 1 w 14"/>
                <a:gd name="T17" fmla="*/ 16 h 31"/>
                <a:gd name="T18" fmla="*/ 1 w 14"/>
                <a:gd name="T19" fmla="*/ 2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31">
                  <a:moveTo>
                    <a:pt x="1" y="27"/>
                  </a:moveTo>
                  <a:cubicBezTo>
                    <a:pt x="1" y="27"/>
                    <a:pt x="1" y="28"/>
                    <a:pt x="1" y="28"/>
                  </a:cubicBezTo>
                  <a:cubicBezTo>
                    <a:pt x="1" y="28"/>
                    <a:pt x="1" y="29"/>
                    <a:pt x="1" y="29"/>
                  </a:cubicBezTo>
                  <a:cubicBezTo>
                    <a:pt x="1" y="29"/>
                    <a:pt x="1" y="30"/>
                    <a:pt x="1" y="31"/>
                  </a:cubicBezTo>
                  <a:cubicBezTo>
                    <a:pt x="1" y="31"/>
                    <a:pt x="14" y="24"/>
                    <a:pt x="14" y="19"/>
                  </a:cubicBezTo>
                  <a:cubicBezTo>
                    <a:pt x="14" y="19"/>
                    <a:pt x="14" y="18"/>
                    <a:pt x="14" y="18"/>
                  </a:cubicBezTo>
                  <a:cubicBezTo>
                    <a:pt x="14" y="18"/>
                    <a:pt x="14" y="18"/>
                    <a:pt x="14" y="17"/>
                  </a:cubicBezTo>
                  <a:cubicBezTo>
                    <a:pt x="14" y="10"/>
                    <a:pt x="13" y="6"/>
                    <a:pt x="11" y="0"/>
                  </a:cubicBezTo>
                  <a:cubicBezTo>
                    <a:pt x="11" y="0"/>
                    <a:pt x="2" y="10"/>
                    <a:pt x="1" y="16"/>
                  </a:cubicBezTo>
                  <a:cubicBezTo>
                    <a:pt x="0" y="21"/>
                    <a:pt x="1" y="23"/>
                    <a:pt x="1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20">
              <a:extLst>
                <a:ext uri="{FF2B5EF4-FFF2-40B4-BE49-F238E27FC236}">
                  <a16:creationId xmlns:a16="http://schemas.microsoft.com/office/drawing/2014/main" id="{AD83220A-A960-4962-AC15-E320413DA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6063" y="1646238"/>
              <a:ext cx="106363" cy="166688"/>
            </a:xfrm>
            <a:custGeom>
              <a:avLst/>
              <a:gdLst>
                <a:gd name="T0" fmla="*/ 17 w 17"/>
                <a:gd name="T1" fmla="*/ 1 h 27"/>
                <a:gd name="T2" fmla="*/ 17 w 17"/>
                <a:gd name="T3" fmla="*/ 0 h 27"/>
                <a:gd name="T4" fmla="*/ 16 w 17"/>
                <a:gd name="T5" fmla="*/ 0 h 27"/>
                <a:gd name="T6" fmla="*/ 3 w 17"/>
                <a:gd name="T7" fmla="*/ 12 h 27"/>
                <a:gd name="T8" fmla="*/ 1 w 17"/>
                <a:gd name="T9" fmla="*/ 24 h 27"/>
                <a:gd name="T10" fmla="*/ 0 w 17"/>
                <a:gd name="T11" fmla="*/ 27 h 27"/>
                <a:gd name="T12" fmla="*/ 15 w 17"/>
                <a:gd name="T13" fmla="*/ 19 h 27"/>
                <a:gd name="T14" fmla="*/ 17 w 17"/>
                <a:gd name="T15" fmla="*/ 8 h 27"/>
                <a:gd name="T16" fmla="*/ 17 w 17"/>
                <a:gd name="T17" fmla="*/ 8 h 27"/>
                <a:gd name="T18" fmla="*/ 17 w 17"/>
                <a:gd name="T19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7">
                  <a:moveTo>
                    <a:pt x="17" y="1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4" y="1"/>
                    <a:pt x="3" y="7"/>
                    <a:pt x="3" y="12"/>
                  </a:cubicBezTo>
                  <a:cubicBezTo>
                    <a:pt x="2" y="17"/>
                    <a:pt x="2" y="20"/>
                    <a:pt x="1" y="24"/>
                  </a:cubicBezTo>
                  <a:cubicBezTo>
                    <a:pt x="0" y="25"/>
                    <a:pt x="0" y="26"/>
                    <a:pt x="0" y="27"/>
                  </a:cubicBezTo>
                  <a:cubicBezTo>
                    <a:pt x="9" y="25"/>
                    <a:pt x="14" y="22"/>
                    <a:pt x="15" y="19"/>
                  </a:cubicBezTo>
                  <a:cubicBezTo>
                    <a:pt x="16" y="15"/>
                    <a:pt x="16" y="12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6"/>
                    <a:pt x="17" y="3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21">
              <a:extLst>
                <a:ext uri="{FF2B5EF4-FFF2-40B4-BE49-F238E27FC236}">
                  <a16:creationId xmlns:a16="http://schemas.microsoft.com/office/drawing/2014/main" id="{0008EB2C-323E-4201-AD29-CEED2F7BC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0500" y="1819275"/>
              <a:ext cx="136525" cy="130175"/>
            </a:xfrm>
            <a:custGeom>
              <a:avLst/>
              <a:gdLst>
                <a:gd name="T0" fmla="*/ 6 w 22"/>
                <a:gd name="T1" fmla="*/ 8 h 21"/>
                <a:gd name="T2" fmla="*/ 1 w 22"/>
                <a:gd name="T3" fmla="*/ 18 h 21"/>
                <a:gd name="T4" fmla="*/ 0 w 22"/>
                <a:gd name="T5" fmla="*/ 21 h 21"/>
                <a:gd name="T6" fmla="*/ 17 w 22"/>
                <a:gd name="T7" fmla="*/ 16 h 21"/>
                <a:gd name="T8" fmla="*/ 22 w 22"/>
                <a:gd name="T9" fmla="*/ 1 h 21"/>
                <a:gd name="T10" fmla="*/ 22 w 22"/>
                <a:gd name="T11" fmla="*/ 1 h 21"/>
                <a:gd name="T12" fmla="*/ 22 w 22"/>
                <a:gd name="T13" fmla="*/ 0 h 21"/>
                <a:gd name="T14" fmla="*/ 6 w 22"/>
                <a:gd name="T15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6" y="8"/>
                  </a:moveTo>
                  <a:cubicBezTo>
                    <a:pt x="4" y="12"/>
                    <a:pt x="3" y="15"/>
                    <a:pt x="1" y="18"/>
                  </a:cubicBezTo>
                  <a:cubicBezTo>
                    <a:pt x="1" y="19"/>
                    <a:pt x="0" y="20"/>
                    <a:pt x="0" y="21"/>
                  </a:cubicBezTo>
                  <a:cubicBezTo>
                    <a:pt x="0" y="21"/>
                    <a:pt x="15" y="20"/>
                    <a:pt x="17" y="16"/>
                  </a:cubicBezTo>
                  <a:cubicBezTo>
                    <a:pt x="20" y="10"/>
                    <a:pt x="21" y="7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0"/>
                    <a:pt x="22" y="0"/>
                  </a:cubicBezTo>
                  <a:cubicBezTo>
                    <a:pt x="22" y="0"/>
                    <a:pt x="8" y="3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22">
              <a:extLst>
                <a:ext uri="{FF2B5EF4-FFF2-40B4-BE49-F238E27FC236}">
                  <a16:creationId xmlns:a16="http://schemas.microsoft.com/office/drawing/2014/main" id="{85428A9C-BE8A-42EF-BDE2-6FEB96E41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7638" y="1646238"/>
              <a:ext cx="87313" cy="160338"/>
            </a:xfrm>
            <a:custGeom>
              <a:avLst/>
              <a:gdLst>
                <a:gd name="T0" fmla="*/ 0 w 14"/>
                <a:gd name="T1" fmla="*/ 11 h 26"/>
                <a:gd name="T2" fmla="*/ 11 w 14"/>
                <a:gd name="T3" fmla="*/ 26 h 26"/>
                <a:gd name="T4" fmla="*/ 14 w 14"/>
                <a:gd name="T5" fmla="*/ 13 h 26"/>
                <a:gd name="T6" fmla="*/ 14 w 14"/>
                <a:gd name="T7" fmla="*/ 11 h 26"/>
                <a:gd name="T8" fmla="*/ 1 w 14"/>
                <a:gd name="T9" fmla="*/ 0 h 26"/>
                <a:gd name="T10" fmla="*/ 1 w 14"/>
                <a:gd name="T11" fmla="*/ 0 h 26"/>
                <a:gd name="T12" fmla="*/ 1 w 14"/>
                <a:gd name="T13" fmla="*/ 1 h 26"/>
                <a:gd name="T14" fmla="*/ 0 w 14"/>
                <a:gd name="T15" fmla="*/ 11 h 26"/>
                <a:gd name="T16" fmla="*/ 0 w 14"/>
                <a:gd name="T17" fmla="*/ 11 h 26"/>
                <a:gd name="T18" fmla="*/ 0 w 14"/>
                <a:gd name="T19" fmla="*/ 11 h 26"/>
                <a:gd name="T20" fmla="*/ 0 w 14"/>
                <a:gd name="T21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26">
                  <a:moveTo>
                    <a:pt x="0" y="11"/>
                  </a:moveTo>
                  <a:cubicBezTo>
                    <a:pt x="0" y="16"/>
                    <a:pt x="11" y="26"/>
                    <a:pt x="11" y="26"/>
                  </a:cubicBezTo>
                  <a:cubicBezTo>
                    <a:pt x="12" y="21"/>
                    <a:pt x="14" y="18"/>
                    <a:pt x="14" y="13"/>
                  </a:cubicBezTo>
                  <a:cubicBezTo>
                    <a:pt x="14" y="13"/>
                    <a:pt x="14" y="12"/>
                    <a:pt x="14" y="11"/>
                  </a:cubicBezTo>
                  <a:cubicBezTo>
                    <a:pt x="13" y="6"/>
                    <a:pt x="3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4"/>
                    <a:pt x="0" y="7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23">
              <a:extLst>
                <a:ext uri="{FF2B5EF4-FFF2-40B4-BE49-F238E27FC236}">
                  <a16:creationId xmlns:a16="http://schemas.microsoft.com/office/drawing/2014/main" id="{9F5F0C82-9B8A-4F7C-907D-1214E166A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1288" y="1533525"/>
              <a:ext cx="98425" cy="130175"/>
            </a:xfrm>
            <a:custGeom>
              <a:avLst/>
              <a:gdLst>
                <a:gd name="T0" fmla="*/ 14 w 16"/>
                <a:gd name="T1" fmla="*/ 6 h 21"/>
                <a:gd name="T2" fmla="*/ 0 w 16"/>
                <a:gd name="T3" fmla="*/ 0 h 21"/>
                <a:gd name="T4" fmla="*/ 0 w 16"/>
                <a:gd name="T5" fmla="*/ 6 h 21"/>
                <a:gd name="T6" fmla="*/ 0 w 16"/>
                <a:gd name="T7" fmla="*/ 6 h 21"/>
                <a:gd name="T8" fmla="*/ 0 w 16"/>
                <a:gd name="T9" fmla="*/ 6 h 21"/>
                <a:gd name="T10" fmla="*/ 1 w 16"/>
                <a:gd name="T11" fmla="*/ 10 h 21"/>
                <a:gd name="T12" fmla="*/ 15 w 16"/>
                <a:gd name="T13" fmla="*/ 21 h 21"/>
                <a:gd name="T14" fmla="*/ 15 w 16"/>
                <a:gd name="T15" fmla="*/ 19 h 21"/>
                <a:gd name="T16" fmla="*/ 15 w 16"/>
                <a:gd name="T17" fmla="*/ 18 h 21"/>
                <a:gd name="T18" fmla="*/ 15 w 16"/>
                <a:gd name="T19" fmla="*/ 17 h 21"/>
                <a:gd name="T20" fmla="*/ 14 w 16"/>
                <a:gd name="T21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1">
                  <a:moveTo>
                    <a:pt x="14" y="6"/>
                  </a:moveTo>
                  <a:cubicBezTo>
                    <a:pt x="12" y="2"/>
                    <a:pt x="0" y="0"/>
                    <a:pt x="0" y="0"/>
                  </a:cubicBezTo>
                  <a:cubicBezTo>
                    <a:pt x="0" y="2"/>
                    <a:pt x="0" y="3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1" y="8"/>
                    <a:pt x="1" y="10"/>
                  </a:cubicBezTo>
                  <a:cubicBezTo>
                    <a:pt x="3" y="14"/>
                    <a:pt x="15" y="21"/>
                    <a:pt x="15" y="21"/>
                  </a:cubicBezTo>
                  <a:cubicBezTo>
                    <a:pt x="15" y="20"/>
                    <a:pt x="15" y="20"/>
                    <a:pt x="15" y="19"/>
                  </a:cubicBezTo>
                  <a:cubicBezTo>
                    <a:pt x="15" y="19"/>
                    <a:pt x="15" y="19"/>
                    <a:pt x="15" y="18"/>
                  </a:cubicBezTo>
                  <a:cubicBezTo>
                    <a:pt x="15" y="19"/>
                    <a:pt x="15" y="17"/>
                    <a:pt x="15" y="17"/>
                  </a:cubicBezTo>
                  <a:cubicBezTo>
                    <a:pt x="15" y="13"/>
                    <a:pt x="16" y="10"/>
                    <a:pt x="1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24">
              <a:extLst>
                <a:ext uri="{FF2B5EF4-FFF2-40B4-BE49-F238E27FC236}">
                  <a16:creationId xmlns:a16="http://schemas.microsoft.com/office/drawing/2014/main" id="{7C832B43-53A2-4E90-8845-5A082B6A3C0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8425" y="1416050"/>
              <a:ext cx="123825" cy="104775"/>
            </a:xfrm>
            <a:custGeom>
              <a:avLst/>
              <a:gdLst>
                <a:gd name="T0" fmla="*/ 1 w 20"/>
                <a:gd name="T1" fmla="*/ 2 h 17"/>
                <a:gd name="T2" fmla="*/ 4 w 20"/>
                <a:gd name="T3" fmla="*/ 10 h 17"/>
                <a:gd name="T4" fmla="*/ 20 w 20"/>
                <a:gd name="T5" fmla="*/ 17 h 17"/>
                <a:gd name="T6" fmla="*/ 19 w 20"/>
                <a:gd name="T7" fmla="*/ 15 h 17"/>
                <a:gd name="T8" fmla="*/ 16 w 20"/>
                <a:gd name="T9" fmla="*/ 3 h 17"/>
                <a:gd name="T10" fmla="*/ 0 w 20"/>
                <a:gd name="T11" fmla="*/ 1 h 17"/>
                <a:gd name="T12" fmla="*/ 1 w 20"/>
                <a:gd name="T13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7">
                  <a:moveTo>
                    <a:pt x="1" y="2"/>
                  </a:moveTo>
                  <a:cubicBezTo>
                    <a:pt x="2" y="5"/>
                    <a:pt x="2" y="7"/>
                    <a:pt x="4" y="10"/>
                  </a:cubicBezTo>
                  <a:cubicBezTo>
                    <a:pt x="7" y="15"/>
                    <a:pt x="20" y="17"/>
                    <a:pt x="20" y="17"/>
                  </a:cubicBezTo>
                  <a:cubicBezTo>
                    <a:pt x="20" y="17"/>
                    <a:pt x="20" y="16"/>
                    <a:pt x="19" y="15"/>
                  </a:cubicBezTo>
                  <a:cubicBezTo>
                    <a:pt x="19" y="11"/>
                    <a:pt x="18" y="7"/>
                    <a:pt x="16" y="3"/>
                  </a:cubicBezTo>
                  <a:cubicBezTo>
                    <a:pt x="13" y="0"/>
                    <a:pt x="0" y="1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25">
              <a:extLst>
                <a:ext uri="{FF2B5EF4-FFF2-40B4-BE49-F238E27FC236}">
                  <a16:creationId xmlns:a16="http://schemas.microsoft.com/office/drawing/2014/main" id="{47218DCA-2E43-4443-82DB-B56885E2F2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0163" y="1309688"/>
              <a:ext cx="147638" cy="87313"/>
            </a:xfrm>
            <a:custGeom>
              <a:avLst/>
              <a:gdLst>
                <a:gd name="T0" fmla="*/ 24 w 24"/>
                <a:gd name="T1" fmla="*/ 14 h 14"/>
                <a:gd name="T2" fmla="*/ 23 w 24"/>
                <a:gd name="T3" fmla="*/ 11 h 14"/>
                <a:gd name="T4" fmla="*/ 17 w 24"/>
                <a:gd name="T5" fmla="*/ 2 h 14"/>
                <a:gd name="T6" fmla="*/ 1 w 24"/>
                <a:gd name="T7" fmla="*/ 1 h 14"/>
                <a:gd name="T8" fmla="*/ 0 w 24"/>
                <a:gd name="T9" fmla="*/ 1 h 14"/>
                <a:gd name="T10" fmla="*/ 7 w 24"/>
                <a:gd name="T11" fmla="*/ 11 h 14"/>
                <a:gd name="T12" fmla="*/ 24 w 24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4">
                  <a:moveTo>
                    <a:pt x="24" y="14"/>
                  </a:moveTo>
                  <a:cubicBezTo>
                    <a:pt x="23" y="13"/>
                    <a:pt x="23" y="12"/>
                    <a:pt x="23" y="11"/>
                  </a:cubicBezTo>
                  <a:cubicBezTo>
                    <a:pt x="23" y="11"/>
                    <a:pt x="20" y="6"/>
                    <a:pt x="17" y="2"/>
                  </a:cubicBezTo>
                  <a:cubicBezTo>
                    <a:pt x="15" y="0"/>
                    <a:pt x="5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4"/>
                    <a:pt x="4" y="7"/>
                    <a:pt x="7" y="11"/>
                  </a:cubicBezTo>
                  <a:cubicBezTo>
                    <a:pt x="10" y="14"/>
                    <a:pt x="24" y="14"/>
                    <a:pt x="24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26">
              <a:extLst>
                <a:ext uri="{FF2B5EF4-FFF2-40B4-BE49-F238E27FC236}">
                  <a16:creationId xmlns:a16="http://schemas.microsoft.com/office/drawing/2014/main" id="{9CE8B80D-9CC5-4209-B6D9-0DF8DE4DF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5888" y="1770063"/>
              <a:ext cx="87313" cy="166688"/>
            </a:xfrm>
            <a:custGeom>
              <a:avLst/>
              <a:gdLst>
                <a:gd name="T0" fmla="*/ 13 w 14"/>
                <a:gd name="T1" fmla="*/ 13 h 27"/>
                <a:gd name="T2" fmla="*/ 13 w 14"/>
                <a:gd name="T3" fmla="*/ 13 h 27"/>
                <a:gd name="T4" fmla="*/ 13 w 14"/>
                <a:gd name="T5" fmla="*/ 13 h 27"/>
                <a:gd name="T6" fmla="*/ 13 w 14"/>
                <a:gd name="T7" fmla="*/ 13 h 27"/>
                <a:gd name="T8" fmla="*/ 13 w 14"/>
                <a:gd name="T9" fmla="*/ 13 h 27"/>
                <a:gd name="T10" fmla="*/ 4 w 14"/>
                <a:gd name="T11" fmla="*/ 0 h 27"/>
                <a:gd name="T12" fmla="*/ 0 w 14"/>
                <a:gd name="T13" fmla="*/ 10 h 27"/>
                <a:gd name="T14" fmla="*/ 0 w 14"/>
                <a:gd name="T15" fmla="*/ 11 h 27"/>
                <a:gd name="T16" fmla="*/ 7 w 14"/>
                <a:gd name="T17" fmla="*/ 27 h 27"/>
                <a:gd name="T18" fmla="*/ 13 w 14"/>
                <a:gd name="T19" fmla="*/ 13 h 27"/>
                <a:gd name="T20" fmla="*/ 13 w 14"/>
                <a:gd name="T2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27">
                  <a:moveTo>
                    <a:pt x="13" y="13"/>
                  </a:move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7"/>
                    <a:pt x="4" y="0"/>
                    <a:pt x="4" y="0"/>
                  </a:cubicBezTo>
                  <a:cubicBezTo>
                    <a:pt x="3" y="4"/>
                    <a:pt x="1" y="5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1" y="18"/>
                    <a:pt x="7" y="27"/>
                    <a:pt x="7" y="27"/>
                  </a:cubicBezTo>
                  <a:cubicBezTo>
                    <a:pt x="10" y="23"/>
                    <a:pt x="12" y="20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27">
              <a:extLst>
                <a:ext uri="{FF2B5EF4-FFF2-40B4-BE49-F238E27FC236}">
                  <a16:creationId xmlns:a16="http://schemas.microsoft.com/office/drawing/2014/main" id="{B56D6C92-9D7B-42A6-9956-7861C35AB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3988" y="1185863"/>
              <a:ext cx="92075" cy="198438"/>
            </a:xfrm>
            <a:custGeom>
              <a:avLst/>
              <a:gdLst>
                <a:gd name="T0" fmla="*/ 2 w 15"/>
                <a:gd name="T1" fmla="*/ 19 h 32"/>
                <a:gd name="T2" fmla="*/ 8 w 15"/>
                <a:gd name="T3" fmla="*/ 32 h 32"/>
                <a:gd name="T4" fmla="*/ 15 w 15"/>
                <a:gd name="T5" fmla="*/ 17 h 32"/>
                <a:gd name="T6" fmla="*/ 15 w 15"/>
                <a:gd name="T7" fmla="*/ 17 h 32"/>
                <a:gd name="T8" fmla="*/ 14 w 15"/>
                <a:gd name="T9" fmla="*/ 14 h 32"/>
                <a:gd name="T10" fmla="*/ 4 w 15"/>
                <a:gd name="T11" fmla="*/ 0 h 32"/>
                <a:gd name="T12" fmla="*/ 3 w 15"/>
                <a:gd name="T13" fmla="*/ 5 h 32"/>
                <a:gd name="T14" fmla="*/ 2 w 15"/>
                <a:gd name="T15" fmla="*/ 7 h 32"/>
                <a:gd name="T16" fmla="*/ 2 w 15"/>
                <a:gd name="T17" fmla="*/ 7 h 32"/>
                <a:gd name="T18" fmla="*/ 2 w 15"/>
                <a:gd name="T19" fmla="*/ 7 h 32"/>
                <a:gd name="T20" fmla="*/ 2 w 15"/>
                <a:gd name="T21" fmla="*/ 1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32">
                  <a:moveTo>
                    <a:pt x="2" y="19"/>
                  </a:moveTo>
                  <a:cubicBezTo>
                    <a:pt x="5" y="24"/>
                    <a:pt x="6" y="27"/>
                    <a:pt x="8" y="32"/>
                  </a:cubicBezTo>
                  <a:cubicBezTo>
                    <a:pt x="8" y="32"/>
                    <a:pt x="14" y="23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6"/>
                    <a:pt x="15" y="15"/>
                    <a:pt x="14" y="14"/>
                  </a:cubicBezTo>
                  <a:cubicBezTo>
                    <a:pt x="11" y="8"/>
                    <a:pt x="8" y="4"/>
                    <a:pt x="4" y="0"/>
                  </a:cubicBezTo>
                  <a:cubicBezTo>
                    <a:pt x="4" y="0"/>
                    <a:pt x="3" y="2"/>
                    <a:pt x="3" y="5"/>
                  </a:cubicBezTo>
                  <a:cubicBezTo>
                    <a:pt x="2" y="6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11"/>
                    <a:pt x="0" y="16"/>
                    <a:pt x="2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28">
              <a:extLst>
                <a:ext uri="{FF2B5EF4-FFF2-40B4-BE49-F238E27FC236}">
                  <a16:creationId xmlns:a16="http://schemas.microsoft.com/office/drawing/2014/main" id="{358A2DE8-7E41-4EEC-B9E1-C272E7F1A9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3563" y="1446213"/>
              <a:ext cx="395288" cy="398463"/>
            </a:xfrm>
            <a:custGeom>
              <a:avLst/>
              <a:gdLst>
                <a:gd name="T0" fmla="*/ 54 w 64"/>
                <a:gd name="T1" fmla="*/ 64 h 64"/>
                <a:gd name="T2" fmla="*/ 51 w 64"/>
                <a:gd name="T3" fmla="*/ 24 h 64"/>
                <a:gd name="T4" fmla="*/ 51 w 64"/>
                <a:gd name="T5" fmla="*/ 13 h 64"/>
                <a:gd name="T6" fmla="*/ 48 w 64"/>
                <a:gd name="T7" fmla="*/ 24 h 64"/>
                <a:gd name="T8" fmla="*/ 36 w 64"/>
                <a:gd name="T9" fmla="*/ 64 h 64"/>
                <a:gd name="T10" fmla="*/ 27 w 64"/>
                <a:gd name="T11" fmla="*/ 64 h 64"/>
                <a:gd name="T12" fmla="*/ 16 w 64"/>
                <a:gd name="T13" fmla="*/ 25 h 64"/>
                <a:gd name="T14" fmla="*/ 14 w 64"/>
                <a:gd name="T15" fmla="*/ 13 h 64"/>
                <a:gd name="T16" fmla="*/ 13 w 64"/>
                <a:gd name="T17" fmla="*/ 25 h 64"/>
                <a:gd name="T18" fmla="*/ 10 w 64"/>
                <a:gd name="T19" fmla="*/ 64 h 64"/>
                <a:gd name="T20" fmla="*/ 0 w 64"/>
                <a:gd name="T21" fmla="*/ 64 h 64"/>
                <a:gd name="T22" fmla="*/ 6 w 64"/>
                <a:gd name="T23" fmla="*/ 0 h 64"/>
                <a:gd name="T24" fmla="*/ 20 w 64"/>
                <a:gd name="T25" fmla="*/ 0 h 64"/>
                <a:gd name="T26" fmla="*/ 30 w 64"/>
                <a:gd name="T27" fmla="*/ 36 h 64"/>
                <a:gd name="T28" fmla="*/ 32 w 64"/>
                <a:gd name="T29" fmla="*/ 47 h 64"/>
                <a:gd name="T30" fmla="*/ 34 w 64"/>
                <a:gd name="T31" fmla="*/ 37 h 64"/>
                <a:gd name="T32" fmla="*/ 45 w 64"/>
                <a:gd name="T33" fmla="*/ 0 h 64"/>
                <a:gd name="T34" fmla="*/ 59 w 64"/>
                <a:gd name="T35" fmla="*/ 0 h 64"/>
                <a:gd name="T36" fmla="*/ 64 w 64"/>
                <a:gd name="T37" fmla="*/ 64 h 64"/>
                <a:gd name="T38" fmla="*/ 54 w 64"/>
                <a:gd name="T3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" h="64">
                  <a:moveTo>
                    <a:pt x="54" y="64"/>
                  </a:moveTo>
                  <a:cubicBezTo>
                    <a:pt x="51" y="24"/>
                    <a:pt x="51" y="24"/>
                    <a:pt x="51" y="24"/>
                  </a:cubicBezTo>
                  <a:cubicBezTo>
                    <a:pt x="51" y="20"/>
                    <a:pt x="51" y="15"/>
                    <a:pt x="51" y="13"/>
                  </a:cubicBezTo>
                  <a:cubicBezTo>
                    <a:pt x="50" y="15"/>
                    <a:pt x="49" y="19"/>
                    <a:pt x="48" y="2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5" y="21"/>
                    <a:pt x="14" y="15"/>
                    <a:pt x="14" y="13"/>
                  </a:cubicBezTo>
                  <a:cubicBezTo>
                    <a:pt x="14" y="15"/>
                    <a:pt x="13" y="21"/>
                    <a:pt x="13" y="25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1" y="42"/>
                    <a:pt x="32" y="45"/>
                    <a:pt x="32" y="47"/>
                  </a:cubicBezTo>
                  <a:cubicBezTo>
                    <a:pt x="32" y="45"/>
                    <a:pt x="33" y="41"/>
                    <a:pt x="34" y="37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4" y="64"/>
                    <a:pt x="64" y="64"/>
                    <a:pt x="64" y="64"/>
                  </a:cubicBezTo>
                  <a:lnTo>
                    <a:pt x="54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29">
              <a:extLst>
                <a:ext uri="{FF2B5EF4-FFF2-40B4-BE49-F238E27FC236}">
                  <a16:creationId xmlns:a16="http://schemas.microsoft.com/office/drawing/2014/main" id="{64EE26A1-1C25-4B74-B730-B777E947AE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4413" y="1446213"/>
              <a:ext cx="273050" cy="398463"/>
            </a:xfrm>
            <a:custGeom>
              <a:avLst/>
              <a:gdLst>
                <a:gd name="T0" fmla="*/ 31 w 44"/>
                <a:gd name="T1" fmla="*/ 64 h 64"/>
                <a:gd name="T2" fmla="*/ 26 w 44"/>
                <a:gd name="T3" fmla="*/ 54 h 64"/>
                <a:gd name="T4" fmla="*/ 15 w 44"/>
                <a:gd name="T5" fmla="*/ 38 h 64"/>
                <a:gd name="T6" fmla="*/ 10 w 44"/>
                <a:gd name="T7" fmla="*/ 36 h 64"/>
                <a:gd name="T8" fmla="*/ 10 w 44"/>
                <a:gd name="T9" fmla="*/ 64 h 64"/>
                <a:gd name="T10" fmla="*/ 0 w 44"/>
                <a:gd name="T11" fmla="*/ 64 h 64"/>
                <a:gd name="T12" fmla="*/ 0 w 44"/>
                <a:gd name="T13" fmla="*/ 0 h 64"/>
                <a:gd name="T14" fmla="*/ 20 w 44"/>
                <a:gd name="T15" fmla="*/ 0 h 64"/>
                <a:gd name="T16" fmla="*/ 41 w 44"/>
                <a:gd name="T17" fmla="*/ 18 h 64"/>
                <a:gd name="T18" fmla="*/ 25 w 44"/>
                <a:gd name="T19" fmla="*/ 36 h 64"/>
                <a:gd name="T20" fmla="*/ 35 w 44"/>
                <a:gd name="T21" fmla="*/ 49 h 64"/>
                <a:gd name="T22" fmla="*/ 44 w 44"/>
                <a:gd name="T23" fmla="*/ 64 h 64"/>
                <a:gd name="T24" fmla="*/ 31 w 44"/>
                <a:gd name="T25" fmla="*/ 64 h 64"/>
                <a:gd name="T26" fmla="*/ 16 w 44"/>
                <a:gd name="T27" fmla="*/ 9 h 64"/>
                <a:gd name="T28" fmla="*/ 10 w 44"/>
                <a:gd name="T29" fmla="*/ 9 h 64"/>
                <a:gd name="T30" fmla="*/ 10 w 44"/>
                <a:gd name="T31" fmla="*/ 29 h 64"/>
                <a:gd name="T32" fmla="*/ 16 w 44"/>
                <a:gd name="T33" fmla="*/ 29 h 64"/>
                <a:gd name="T34" fmla="*/ 26 w 44"/>
                <a:gd name="T35" fmla="*/ 26 h 64"/>
                <a:gd name="T36" fmla="*/ 29 w 44"/>
                <a:gd name="T37" fmla="*/ 18 h 64"/>
                <a:gd name="T38" fmla="*/ 16 w 44"/>
                <a:gd name="T39" fmla="*/ 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4" h="64">
                  <a:moveTo>
                    <a:pt x="31" y="64"/>
                  </a:moveTo>
                  <a:cubicBezTo>
                    <a:pt x="26" y="54"/>
                    <a:pt x="26" y="54"/>
                    <a:pt x="26" y="54"/>
                  </a:cubicBezTo>
                  <a:cubicBezTo>
                    <a:pt x="21" y="46"/>
                    <a:pt x="18" y="42"/>
                    <a:pt x="15" y="38"/>
                  </a:cubicBezTo>
                  <a:cubicBezTo>
                    <a:pt x="13" y="37"/>
                    <a:pt x="13" y="37"/>
                    <a:pt x="10" y="36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34" y="0"/>
                    <a:pt x="41" y="8"/>
                    <a:pt x="41" y="18"/>
                  </a:cubicBezTo>
                  <a:cubicBezTo>
                    <a:pt x="41" y="28"/>
                    <a:pt x="35" y="36"/>
                    <a:pt x="25" y="36"/>
                  </a:cubicBezTo>
                  <a:cubicBezTo>
                    <a:pt x="27" y="37"/>
                    <a:pt x="31" y="43"/>
                    <a:pt x="35" y="49"/>
                  </a:cubicBezTo>
                  <a:cubicBezTo>
                    <a:pt x="44" y="64"/>
                    <a:pt x="44" y="64"/>
                    <a:pt x="44" y="64"/>
                  </a:cubicBezTo>
                  <a:lnTo>
                    <a:pt x="31" y="64"/>
                  </a:lnTo>
                  <a:close/>
                  <a:moveTo>
                    <a:pt x="16" y="9"/>
                  </a:moveTo>
                  <a:cubicBezTo>
                    <a:pt x="10" y="9"/>
                    <a:pt x="10" y="9"/>
                    <a:pt x="10" y="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22" y="29"/>
                    <a:pt x="25" y="28"/>
                    <a:pt x="26" y="26"/>
                  </a:cubicBezTo>
                  <a:cubicBezTo>
                    <a:pt x="28" y="24"/>
                    <a:pt x="29" y="22"/>
                    <a:pt x="29" y="18"/>
                  </a:cubicBezTo>
                  <a:cubicBezTo>
                    <a:pt x="29" y="12"/>
                    <a:pt x="26" y="9"/>
                    <a:pt x="16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30">
              <a:extLst>
                <a:ext uri="{FF2B5EF4-FFF2-40B4-BE49-F238E27FC236}">
                  <a16:creationId xmlns:a16="http://schemas.microsoft.com/office/drawing/2014/main" id="{927E37A7-A482-44DB-ADFC-A28D8862DF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163" y="1881188"/>
              <a:ext cx="1276350" cy="465138"/>
            </a:xfrm>
            <a:custGeom>
              <a:avLst/>
              <a:gdLst>
                <a:gd name="T0" fmla="*/ 175 w 206"/>
                <a:gd name="T1" fmla="*/ 0 h 75"/>
                <a:gd name="T2" fmla="*/ 91 w 206"/>
                <a:gd name="T3" fmla="*/ 42 h 75"/>
                <a:gd name="T4" fmla="*/ 13 w 206"/>
                <a:gd name="T5" fmla="*/ 15 h 75"/>
                <a:gd name="T6" fmla="*/ 7 w 206"/>
                <a:gd name="T7" fmla="*/ 26 h 75"/>
                <a:gd name="T8" fmla="*/ 15 w 206"/>
                <a:gd name="T9" fmla="*/ 34 h 75"/>
                <a:gd name="T10" fmla="*/ 24 w 206"/>
                <a:gd name="T11" fmla="*/ 34 h 75"/>
                <a:gd name="T12" fmla="*/ 28 w 206"/>
                <a:gd name="T13" fmla="*/ 38 h 75"/>
                <a:gd name="T14" fmla="*/ 27 w 206"/>
                <a:gd name="T15" fmla="*/ 48 h 75"/>
                <a:gd name="T16" fmla="*/ 38 w 206"/>
                <a:gd name="T17" fmla="*/ 54 h 75"/>
                <a:gd name="T18" fmla="*/ 46 w 206"/>
                <a:gd name="T19" fmla="*/ 52 h 75"/>
                <a:gd name="T20" fmla="*/ 52 w 206"/>
                <a:gd name="T21" fmla="*/ 57 h 75"/>
                <a:gd name="T22" fmla="*/ 52 w 206"/>
                <a:gd name="T23" fmla="*/ 63 h 75"/>
                <a:gd name="T24" fmla="*/ 63 w 206"/>
                <a:gd name="T25" fmla="*/ 69 h 75"/>
                <a:gd name="T26" fmla="*/ 71 w 206"/>
                <a:gd name="T27" fmla="*/ 63 h 75"/>
                <a:gd name="T28" fmla="*/ 81 w 206"/>
                <a:gd name="T29" fmla="*/ 72 h 75"/>
                <a:gd name="T30" fmla="*/ 94 w 206"/>
                <a:gd name="T31" fmla="*/ 74 h 75"/>
                <a:gd name="T32" fmla="*/ 97 w 206"/>
                <a:gd name="T33" fmla="*/ 69 h 75"/>
                <a:gd name="T34" fmla="*/ 98 w 206"/>
                <a:gd name="T35" fmla="*/ 69 h 75"/>
                <a:gd name="T36" fmla="*/ 98 w 206"/>
                <a:gd name="T37" fmla="*/ 68 h 75"/>
                <a:gd name="T38" fmla="*/ 99 w 206"/>
                <a:gd name="T39" fmla="*/ 68 h 75"/>
                <a:gd name="T40" fmla="*/ 100 w 206"/>
                <a:gd name="T41" fmla="*/ 68 h 75"/>
                <a:gd name="T42" fmla="*/ 109 w 206"/>
                <a:gd name="T43" fmla="*/ 70 h 75"/>
                <a:gd name="T44" fmla="*/ 123 w 206"/>
                <a:gd name="T45" fmla="*/ 74 h 75"/>
                <a:gd name="T46" fmla="*/ 124 w 206"/>
                <a:gd name="T47" fmla="*/ 74 h 75"/>
                <a:gd name="T48" fmla="*/ 124 w 206"/>
                <a:gd name="T49" fmla="*/ 74 h 75"/>
                <a:gd name="T50" fmla="*/ 124 w 206"/>
                <a:gd name="T51" fmla="*/ 73 h 75"/>
                <a:gd name="T52" fmla="*/ 125 w 206"/>
                <a:gd name="T53" fmla="*/ 73 h 75"/>
                <a:gd name="T54" fmla="*/ 126 w 206"/>
                <a:gd name="T55" fmla="*/ 67 h 75"/>
                <a:gd name="T56" fmla="*/ 127 w 206"/>
                <a:gd name="T57" fmla="*/ 66 h 75"/>
                <a:gd name="T58" fmla="*/ 127 w 206"/>
                <a:gd name="T59" fmla="*/ 66 h 75"/>
                <a:gd name="T60" fmla="*/ 127 w 206"/>
                <a:gd name="T61" fmla="*/ 65 h 75"/>
                <a:gd name="T62" fmla="*/ 128 w 206"/>
                <a:gd name="T63" fmla="*/ 65 h 75"/>
                <a:gd name="T64" fmla="*/ 137 w 206"/>
                <a:gd name="T65" fmla="*/ 65 h 75"/>
                <a:gd name="T66" fmla="*/ 143 w 206"/>
                <a:gd name="T67" fmla="*/ 69 h 75"/>
                <a:gd name="T68" fmla="*/ 153 w 206"/>
                <a:gd name="T69" fmla="*/ 62 h 75"/>
                <a:gd name="T70" fmla="*/ 154 w 206"/>
                <a:gd name="T71" fmla="*/ 56 h 75"/>
                <a:gd name="T72" fmla="*/ 154 w 206"/>
                <a:gd name="T73" fmla="*/ 55 h 75"/>
                <a:gd name="T74" fmla="*/ 155 w 206"/>
                <a:gd name="T75" fmla="*/ 54 h 75"/>
                <a:gd name="T76" fmla="*/ 163 w 206"/>
                <a:gd name="T77" fmla="*/ 52 h 75"/>
                <a:gd name="T78" fmla="*/ 170 w 206"/>
                <a:gd name="T79" fmla="*/ 54 h 75"/>
                <a:gd name="T80" fmla="*/ 179 w 206"/>
                <a:gd name="T81" fmla="*/ 48 h 75"/>
                <a:gd name="T82" fmla="*/ 178 w 206"/>
                <a:gd name="T83" fmla="*/ 38 h 75"/>
                <a:gd name="T84" fmla="*/ 178 w 206"/>
                <a:gd name="T85" fmla="*/ 37 h 75"/>
                <a:gd name="T86" fmla="*/ 190 w 206"/>
                <a:gd name="T87" fmla="*/ 34 h 75"/>
                <a:gd name="T88" fmla="*/ 198 w 206"/>
                <a:gd name="T89" fmla="*/ 2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6" h="75">
                  <a:moveTo>
                    <a:pt x="204" y="13"/>
                  </a:moveTo>
                  <a:cubicBezTo>
                    <a:pt x="203" y="13"/>
                    <a:pt x="195" y="16"/>
                    <a:pt x="184" y="16"/>
                  </a:cubicBezTo>
                  <a:cubicBezTo>
                    <a:pt x="180" y="11"/>
                    <a:pt x="176" y="0"/>
                    <a:pt x="175" y="0"/>
                  </a:cubicBezTo>
                  <a:cubicBezTo>
                    <a:pt x="164" y="22"/>
                    <a:pt x="141" y="38"/>
                    <a:pt x="114" y="42"/>
                  </a:cubicBezTo>
                  <a:cubicBezTo>
                    <a:pt x="110" y="42"/>
                    <a:pt x="106" y="43"/>
                    <a:pt x="103" y="43"/>
                  </a:cubicBezTo>
                  <a:cubicBezTo>
                    <a:pt x="99" y="43"/>
                    <a:pt x="95" y="42"/>
                    <a:pt x="91" y="42"/>
                  </a:cubicBezTo>
                  <a:cubicBezTo>
                    <a:pt x="64" y="38"/>
                    <a:pt x="42" y="22"/>
                    <a:pt x="30" y="0"/>
                  </a:cubicBezTo>
                  <a:cubicBezTo>
                    <a:pt x="30" y="0"/>
                    <a:pt x="26" y="12"/>
                    <a:pt x="21" y="16"/>
                  </a:cubicBezTo>
                  <a:cubicBezTo>
                    <a:pt x="20" y="16"/>
                    <a:pt x="17" y="16"/>
                    <a:pt x="13" y="15"/>
                  </a:cubicBezTo>
                  <a:cubicBezTo>
                    <a:pt x="7" y="14"/>
                    <a:pt x="2" y="13"/>
                    <a:pt x="1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6"/>
                    <a:pt x="5" y="22"/>
                    <a:pt x="7" y="26"/>
                  </a:cubicBezTo>
                  <a:cubicBezTo>
                    <a:pt x="8" y="26"/>
                    <a:pt x="12" y="32"/>
                    <a:pt x="13" y="34"/>
                  </a:cubicBezTo>
                  <a:cubicBezTo>
                    <a:pt x="14" y="34"/>
                    <a:pt x="14" y="34"/>
                    <a:pt x="15" y="34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22" y="33"/>
                    <a:pt x="22" y="33"/>
                  </a:cubicBezTo>
                  <a:cubicBezTo>
                    <a:pt x="23" y="33"/>
                    <a:pt x="23" y="33"/>
                    <a:pt x="24" y="34"/>
                  </a:cubicBezTo>
                  <a:cubicBezTo>
                    <a:pt x="24" y="34"/>
                    <a:pt x="27" y="37"/>
                    <a:pt x="27" y="37"/>
                  </a:cubicBezTo>
                  <a:cubicBezTo>
                    <a:pt x="28" y="37"/>
                    <a:pt x="28" y="38"/>
                    <a:pt x="28" y="38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6" y="47"/>
                    <a:pt x="26" y="47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30" y="51"/>
                    <a:pt x="32" y="53"/>
                    <a:pt x="35" y="54"/>
                  </a:cubicBezTo>
                  <a:cubicBezTo>
                    <a:pt x="35" y="55"/>
                    <a:pt x="36" y="55"/>
                    <a:pt x="36" y="55"/>
                  </a:cubicBezTo>
                  <a:cubicBezTo>
                    <a:pt x="36" y="55"/>
                    <a:pt x="37" y="55"/>
                    <a:pt x="38" y="54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3" y="52"/>
                    <a:pt x="44" y="51"/>
                    <a:pt x="44" y="51"/>
                  </a:cubicBezTo>
                  <a:cubicBezTo>
                    <a:pt x="45" y="51"/>
                    <a:pt x="45" y="52"/>
                    <a:pt x="46" y="52"/>
                  </a:cubicBezTo>
                  <a:cubicBezTo>
                    <a:pt x="46" y="52"/>
                    <a:pt x="50" y="54"/>
                    <a:pt x="51" y="55"/>
                  </a:cubicBezTo>
                  <a:cubicBezTo>
                    <a:pt x="51" y="55"/>
                    <a:pt x="52" y="56"/>
                    <a:pt x="52" y="57"/>
                  </a:cubicBezTo>
                  <a:cubicBezTo>
                    <a:pt x="52" y="57"/>
                    <a:pt x="52" y="57"/>
                    <a:pt x="52" y="57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4"/>
                    <a:pt x="52" y="64"/>
                    <a:pt x="53" y="65"/>
                  </a:cubicBezTo>
                  <a:cubicBezTo>
                    <a:pt x="55" y="66"/>
                    <a:pt x="61" y="69"/>
                    <a:pt x="62" y="69"/>
                  </a:cubicBezTo>
                  <a:cubicBezTo>
                    <a:pt x="62" y="69"/>
                    <a:pt x="63" y="69"/>
                    <a:pt x="63" y="69"/>
                  </a:cubicBezTo>
                  <a:cubicBezTo>
                    <a:pt x="63" y="69"/>
                    <a:pt x="64" y="69"/>
                    <a:pt x="65" y="68"/>
                  </a:cubicBezTo>
                  <a:cubicBezTo>
                    <a:pt x="69" y="65"/>
                    <a:pt x="69" y="65"/>
                    <a:pt x="69" y="65"/>
                  </a:cubicBezTo>
                  <a:cubicBezTo>
                    <a:pt x="69" y="64"/>
                    <a:pt x="70" y="63"/>
                    <a:pt x="71" y="63"/>
                  </a:cubicBezTo>
                  <a:cubicBezTo>
                    <a:pt x="72" y="63"/>
                    <a:pt x="77" y="65"/>
                    <a:pt x="77" y="65"/>
                  </a:cubicBezTo>
                  <a:cubicBezTo>
                    <a:pt x="78" y="65"/>
                    <a:pt x="79" y="66"/>
                    <a:pt x="79" y="67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4"/>
                    <a:pt x="82" y="74"/>
                    <a:pt x="83" y="74"/>
                  </a:cubicBezTo>
                  <a:cubicBezTo>
                    <a:pt x="83" y="74"/>
                    <a:pt x="91" y="75"/>
                    <a:pt x="92" y="75"/>
                  </a:cubicBezTo>
                  <a:cubicBezTo>
                    <a:pt x="92" y="75"/>
                    <a:pt x="93" y="75"/>
                    <a:pt x="94" y="74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97" y="70"/>
                    <a:pt x="97" y="69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69"/>
                    <a:pt x="98" y="69"/>
                    <a:pt x="98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8"/>
                    <a:pt x="98" y="68"/>
                    <a:pt x="98" y="68"/>
                  </a:cubicBezTo>
                  <a:cubicBezTo>
                    <a:pt x="98" y="68"/>
                    <a:pt x="98" y="68"/>
                    <a:pt x="98" y="68"/>
                  </a:cubicBezTo>
                  <a:cubicBezTo>
                    <a:pt x="98" y="68"/>
                    <a:pt x="98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100" y="68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100" y="68"/>
                    <a:pt x="105" y="68"/>
                    <a:pt x="105" y="68"/>
                  </a:cubicBezTo>
                  <a:cubicBezTo>
                    <a:pt x="107" y="68"/>
                    <a:pt x="108" y="68"/>
                    <a:pt x="109" y="70"/>
                  </a:cubicBezTo>
                  <a:cubicBezTo>
                    <a:pt x="112" y="74"/>
                    <a:pt x="112" y="74"/>
                    <a:pt x="112" y="74"/>
                  </a:cubicBezTo>
                  <a:cubicBezTo>
                    <a:pt x="112" y="75"/>
                    <a:pt x="113" y="75"/>
                    <a:pt x="114" y="75"/>
                  </a:cubicBezTo>
                  <a:cubicBezTo>
                    <a:pt x="114" y="75"/>
                    <a:pt x="122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4" y="74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5" y="73"/>
                    <a:pt x="125" y="72"/>
                    <a:pt x="125" y="72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26" y="67"/>
                    <a:pt x="127" y="67"/>
                    <a:pt x="127" y="67"/>
                  </a:cubicBezTo>
                  <a:cubicBezTo>
                    <a:pt x="127" y="67"/>
                    <a:pt x="127" y="67"/>
                    <a:pt x="127" y="67"/>
                  </a:cubicBezTo>
                  <a:cubicBezTo>
                    <a:pt x="127" y="67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5"/>
                    <a:pt x="127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9" y="65"/>
                    <a:pt x="134" y="63"/>
                    <a:pt x="134" y="63"/>
                  </a:cubicBezTo>
                  <a:cubicBezTo>
                    <a:pt x="135" y="63"/>
                    <a:pt x="136" y="64"/>
                    <a:pt x="137" y="65"/>
                  </a:cubicBezTo>
                  <a:cubicBezTo>
                    <a:pt x="141" y="68"/>
                    <a:pt x="141" y="68"/>
                    <a:pt x="141" y="68"/>
                  </a:cubicBezTo>
                  <a:cubicBezTo>
                    <a:pt x="141" y="69"/>
                    <a:pt x="142" y="69"/>
                    <a:pt x="143" y="69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4" y="69"/>
                    <a:pt x="144" y="68"/>
                    <a:pt x="145" y="68"/>
                  </a:cubicBezTo>
                  <a:cubicBezTo>
                    <a:pt x="147" y="67"/>
                    <a:pt x="150" y="66"/>
                    <a:pt x="152" y="65"/>
                  </a:cubicBezTo>
                  <a:cubicBezTo>
                    <a:pt x="154" y="64"/>
                    <a:pt x="153" y="63"/>
                    <a:pt x="153" y="62"/>
                  </a:cubicBezTo>
                  <a:cubicBezTo>
                    <a:pt x="154" y="61"/>
                    <a:pt x="154" y="61"/>
                    <a:pt x="154" y="60"/>
                  </a:cubicBezTo>
                  <a:cubicBezTo>
                    <a:pt x="154" y="60"/>
                    <a:pt x="154" y="60"/>
                    <a:pt x="154" y="60"/>
                  </a:cubicBezTo>
                  <a:cubicBezTo>
                    <a:pt x="154" y="56"/>
                    <a:pt x="154" y="56"/>
                    <a:pt x="154" y="56"/>
                  </a:cubicBezTo>
                  <a:cubicBezTo>
                    <a:pt x="154" y="56"/>
                    <a:pt x="154" y="56"/>
                    <a:pt x="154" y="56"/>
                  </a:cubicBezTo>
                  <a:cubicBezTo>
                    <a:pt x="154" y="56"/>
                    <a:pt x="154" y="55"/>
                    <a:pt x="154" y="55"/>
                  </a:cubicBezTo>
                  <a:cubicBezTo>
                    <a:pt x="154" y="55"/>
                    <a:pt x="154" y="55"/>
                    <a:pt x="154" y="55"/>
                  </a:cubicBezTo>
                  <a:cubicBezTo>
                    <a:pt x="155" y="55"/>
                    <a:pt x="155" y="55"/>
                    <a:pt x="155" y="55"/>
                  </a:cubicBezTo>
                  <a:cubicBezTo>
                    <a:pt x="155" y="55"/>
                    <a:pt x="155" y="55"/>
                    <a:pt x="155" y="55"/>
                  </a:cubicBezTo>
                  <a:cubicBezTo>
                    <a:pt x="155" y="55"/>
                    <a:pt x="155" y="54"/>
                    <a:pt x="155" y="54"/>
                  </a:cubicBezTo>
                  <a:cubicBezTo>
                    <a:pt x="155" y="54"/>
                    <a:pt x="159" y="52"/>
                    <a:pt x="160" y="52"/>
                  </a:cubicBezTo>
                  <a:cubicBezTo>
                    <a:pt x="160" y="52"/>
                    <a:pt x="161" y="51"/>
                    <a:pt x="161" y="51"/>
                  </a:cubicBezTo>
                  <a:cubicBezTo>
                    <a:pt x="162" y="51"/>
                    <a:pt x="162" y="52"/>
                    <a:pt x="163" y="52"/>
                  </a:cubicBezTo>
                  <a:cubicBezTo>
                    <a:pt x="168" y="54"/>
                    <a:pt x="168" y="54"/>
                    <a:pt x="168" y="54"/>
                  </a:cubicBezTo>
                  <a:cubicBezTo>
                    <a:pt x="168" y="55"/>
                    <a:pt x="169" y="55"/>
                    <a:pt x="169" y="55"/>
                  </a:cubicBezTo>
                  <a:cubicBezTo>
                    <a:pt x="170" y="55"/>
                    <a:pt x="170" y="55"/>
                    <a:pt x="170" y="54"/>
                  </a:cubicBezTo>
                  <a:cubicBezTo>
                    <a:pt x="173" y="53"/>
                    <a:pt x="175" y="51"/>
                    <a:pt x="178" y="48"/>
                  </a:cubicBezTo>
                  <a:cubicBezTo>
                    <a:pt x="178" y="48"/>
                    <a:pt x="178" y="48"/>
                    <a:pt x="178" y="48"/>
                  </a:cubicBezTo>
                  <a:cubicBezTo>
                    <a:pt x="178" y="48"/>
                    <a:pt x="178" y="48"/>
                    <a:pt x="179" y="48"/>
                  </a:cubicBezTo>
                  <a:cubicBezTo>
                    <a:pt x="179" y="47"/>
                    <a:pt x="180" y="46"/>
                    <a:pt x="179" y="45"/>
                  </a:cubicBezTo>
                  <a:cubicBezTo>
                    <a:pt x="177" y="38"/>
                    <a:pt x="177" y="38"/>
                    <a:pt x="177" y="38"/>
                  </a:cubicBezTo>
                  <a:cubicBezTo>
                    <a:pt x="177" y="38"/>
                    <a:pt x="177" y="38"/>
                    <a:pt x="178" y="38"/>
                  </a:cubicBezTo>
                  <a:cubicBezTo>
                    <a:pt x="178" y="38"/>
                    <a:pt x="178" y="38"/>
                    <a:pt x="178" y="37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81" y="34"/>
                    <a:pt x="182" y="33"/>
                    <a:pt x="183" y="33"/>
                  </a:cubicBezTo>
                  <a:cubicBezTo>
                    <a:pt x="184" y="33"/>
                    <a:pt x="190" y="34"/>
                    <a:pt x="190" y="34"/>
                  </a:cubicBezTo>
                  <a:cubicBezTo>
                    <a:pt x="190" y="34"/>
                    <a:pt x="191" y="34"/>
                    <a:pt x="191" y="34"/>
                  </a:cubicBezTo>
                  <a:cubicBezTo>
                    <a:pt x="191" y="34"/>
                    <a:pt x="192" y="34"/>
                    <a:pt x="192" y="34"/>
                  </a:cubicBezTo>
                  <a:cubicBezTo>
                    <a:pt x="193" y="32"/>
                    <a:pt x="198" y="26"/>
                    <a:pt x="198" y="26"/>
                  </a:cubicBezTo>
                  <a:cubicBezTo>
                    <a:pt x="200" y="22"/>
                    <a:pt x="204" y="15"/>
                    <a:pt x="206" y="12"/>
                  </a:cubicBezTo>
                  <a:lnTo>
                    <a:pt x="20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3039401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B5C5E6F9-EAE2-4997-AAC1-9679FF585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65125"/>
            <a:ext cx="11233150" cy="43088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D4960A-FB25-40DE-917E-F30A36C0B0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574801"/>
            <a:ext cx="10266498" cy="42671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</a:t>
            </a:r>
          </a:p>
          <a:p>
            <a:pPr lvl="6"/>
            <a:r>
              <a:rPr lang="de-DE" dirty="0"/>
              <a:t>Soeben</a:t>
            </a:r>
          </a:p>
          <a:p>
            <a:pPr lvl="7"/>
            <a:r>
              <a:rPr lang="de-DE" dirty="0"/>
              <a:t>Acht</a:t>
            </a:r>
          </a:p>
          <a:p>
            <a:pPr lvl="8"/>
            <a:r>
              <a:rPr lang="de-DE" dirty="0"/>
              <a:t>neu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18E310E-3372-4143-97F6-47E916F0E9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97606" y="6444188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Titel / Name unter Einfügen - Kopf-und Fußzeile 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085314C-05E4-4C18-A681-2E08FCD05D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44188"/>
            <a:ext cx="258084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2B36B8E5-3A52-4A78-81A8-094081A03A6D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B3431966-6FA1-42A4-B648-167A79D2CE1B}"/>
              </a:ext>
            </a:extLst>
          </p:cNvPr>
          <p:cNvGrpSpPr/>
          <p:nvPr userDrawn="1"/>
        </p:nvGrpSpPr>
        <p:grpSpPr>
          <a:xfrm>
            <a:off x="11408675" y="6072554"/>
            <a:ext cx="527308" cy="525522"/>
            <a:chOff x="1485900" y="944563"/>
            <a:chExt cx="1406526" cy="1401763"/>
          </a:xfrm>
          <a:solidFill>
            <a:schemeClr val="bg2"/>
          </a:solidFill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85FCE9BA-20DB-46CB-AB3B-488D1A4468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6088" y="1019175"/>
              <a:ext cx="946150" cy="247650"/>
            </a:xfrm>
            <a:custGeom>
              <a:avLst/>
              <a:gdLst>
                <a:gd name="T0" fmla="*/ 76 w 153"/>
                <a:gd name="T1" fmla="*/ 0 h 40"/>
                <a:gd name="T2" fmla="*/ 0 w 153"/>
                <a:gd name="T3" fmla="*/ 35 h 40"/>
                <a:gd name="T4" fmla="*/ 0 w 153"/>
                <a:gd name="T5" fmla="*/ 39 h 40"/>
                <a:gd name="T6" fmla="*/ 4 w 153"/>
                <a:gd name="T7" fmla="*/ 39 h 40"/>
                <a:gd name="T8" fmla="*/ 76 w 153"/>
                <a:gd name="T9" fmla="*/ 6 h 40"/>
                <a:gd name="T10" fmla="*/ 149 w 153"/>
                <a:gd name="T11" fmla="*/ 40 h 40"/>
                <a:gd name="T12" fmla="*/ 153 w 153"/>
                <a:gd name="T13" fmla="*/ 40 h 40"/>
                <a:gd name="T14" fmla="*/ 153 w 153"/>
                <a:gd name="T15" fmla="*/ 36 h 40"/>
                <a:gd name="T16" fmla="*/ 76 w 153"/>
                <a:gd name="T1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40">
                  <a:moveTo>
                    <a:pt x="76" y="0"/>
                  </a:moveTo>
                  <a:cubicBezTo>
                    <a:pt x="45" y="0"/>
                    <a:pt x="18" y="12"/>
                    <a:pt x="0" y="35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21" y="18"/>
                    <a:pt x="46" y="6"/>
                    <a:pt x="76" y="6"/>
                  </a:cubicBezTo>
                  <a:cubicBezTo>
                    <a:pt x="106" y="6"/>
                    <a:pt x="131" y="18"/>
                    <a:pt x="149" y="40"/>
                  </a:cubicBezTo>
                  <a:cubicBezTo>
                    <a:pt x="153" y="40"/>
                    <a:pt x="153" y="40"/>
                    <a:pt x="153" y="40"/>
                  </a:cubicBezTo>
                  <a:cubicBezTo>
                    <a:pt x="153" y="36"/>
                    <a:pt x="153" y="36"/>
                    <a:pt x="153" y="36"/>
                  </a:cubicBezTo>
                  <a:cubicBezTo>
                    <a:pt x="135" y="13"/>
                    <a:pt x="108" y="0"/>
                    <a:pt x="7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D5C9A921-8216-4E3E-B45C-35BC4B1E89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9113" y="1100138"/>
              <a:ext cx="800100" cy="173038"/>
            </a:xfrm>
            <a:custGeom>
              <a:avLst/>
              <a:gdLst>
                <a:gd name="T0" fmla="*/ 127 w 129"/>
                <a:gd name="T1" fmla="*/ 26 h 28"/>
                <a:gd name="T2" fmla="*/ 64 w 129"/>
                <a:gd name="T3" fmla="*/ 0 h 28"/>
                <a:gd name="T4" fmla="*/ 1 w 129"/>
                <a:gd name="T5" fmla="*/ 26 h 28"/>
                <a:gd name="T6" fmla="*/ 1 w 129"/>
                <a:gd name="T7" fmla="*/ 26 h 28"/>
                <a:gd name="T8" fmla="*/ 0 w 129"/>
                <a:gd name="T9" fmla="*/ 28 h 28"/>
                <a:gd name="T10" fmla="*/ 8 w 129"/>
                <a:gd name="T11" fmla="*/ 28 h 28"/>
                <a:gd name="T12" fmla="*/ 64 w 129"/>
                <a:gd name="T13" fmla="*/ 6 h 28"/>
                <a:gd name="T14" fmla="*/ 121 w 129"/>
                <a:gd name="T15" fmla="*/ 28 h 28"/>
                <a:gd name="T16" fmla="*/ 129 w 129"/>
                <a:gd name="T17" fmla="*/ 28 h 28"/>
                <a:gd name="T18" fmla="*/ 127 w 129"/>
                <a:gd name="T19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9" h="28">
                  <a:moveTo>
                    <a:pt x="127" y="26"/>
                  </a:moveTo>
                  <a:cubicBezTo>
                    <a:pt x="111" y="10"/>
                    <a:pt x="89" y="0"/>
                    <a:pt x="64" y="0"/>
                  </a:cubicBezTo>
                  <a:cubicBezTo>
                    <a:pt x="40" y="0"/>
                    <a:pt x="17" y="10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7"/>
                    <a:pt x="0" y="27"/>
                    <a:pt x="0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23" y="14"/>
                    <a:pt x="43" y="6"/>
                    <a:pt x="64" y="6"/>
                  </a:cubicBezTo>
                  <a:cubicBezTo>
                    <a:pt x="86" y="6"/>
                    <a:pt x="106" y="14"/>
                    <a:pt x="121" y="28"/>
                  </a:cubicBezTo>
                  <a:cubicBezTo>
                    <a:pt x="129" y="28"/>
                    <a:pt x="129" y="28"/>
                    <a:pt x="129" y="28"/>
                  </a:cubicBezTo>
                  <a:cubicBezTo>
                    <a:pt x="128" y="27"/>
                    <a:pt x="128" y="27"/>
                    <a:pt x="12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E9D8494B-C642-43D7-B11D-65A7CBBA5B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0688" y="944563"/>
              <a:ext cx="984250" cy="247650"/>
            </a:xfrm>
            <a:custGeom>
              <a:avLst/>
              <a:gdLst>
                <a:gd name="T0" fmla="*/ 159 w 159"/>
                <a:gd name="T1" fmla="*/ 32 h 40"/>
                <a:gd name="T2" fmla="*/ 79 w 159"/>
                <a:gd name="T3" fmla="*/ 0 h 40"/>
                <a:gd name="T4" fmla="*/ 0 w 159"/>
                <a:gd name="T5" fmla="*/ 32 h 40"/>
                <a:gd name="T6" fmla="*/ 1 w 159"/>
                <a:gd name="T7" fmla="*/ 39 h 40"/>
                <a:gd name="T8" fmla="*/ 79 w 159"/>
                <a:gd name="T9" fmla="*/ 5 h 40"/>
                <a:gd name="T10" fmla="*/ 159 w 159"/>
                <a:gd name="T11" fmla="*/ 40 h 40"/>
                <a:gd name="T12" fmla="*/ 159 w 159"/>
                <a:gd name="T13" fmla="*/ 3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40">
                  <a:moveTo>
                    <a:pt x="159" y="32"/>
                  </a:moveTo>
                  <a:cubicBezTo>
                    <a:pt x="139" y="12"/>
                    <a:pt x="111" y="0"/>
                    <a:pt x="79" y="0"/>
                  </a:cubicBezTo>
                  <a:cubicBezTo>
                    <a:pt x="48" y="0"/>
                    <a:pt x="20" y="12"/>
                    <a:pt x="0" y="32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20" y="18"/>
                    <a:pt x="48" y="5"/>
                    <a:pt x="79" y="5"/>
                  </a:cubicBezTo>
                  <a:cubicBezTo>
                    <a:pt x="111" y="5"/>
                    <a:pt x="139" y="18"/>
                    <a:pt x="159" y="40"/>
                  </a:cubicBezTo>
                  <a:lnTo>
                    <a:pt x="159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698E52F2-9EA4-4CFA-BDD1-E2B67047A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263" y="1185863"/>
              <a:ext cx="85725" cy="198438"/>
            </a:xfrm>
            <a:custGeom>
              <a:avLst/>
              <a:gdLst>
                <a:gd name="T0" fmla="*/ 0 w 14"/>
                <a:gd name="T1" fmla="*/ 17 h 32"/>
                <a:gd name="T2" fmla="*/ 6 w 14"/>
                <a:gd name="T3" fmla="*/ 32 h 32"/>
                <a:gd name="T4" fmla="*/ 13 w 14"/>
                <a:gd name="T5" fmla="*/ 19 h 32"/>
                <a:gd name="T6" fmla="*/ 12 w 14"/>
                <a:gd name="T7" fmla="*/ 7 h 32"/>
                <a:gd name="T8" fmla="*/ 12 w 14"/>
                <a:gd name="T9" fmla="*/ 7 h 32"/>
                <a:gd name="T10" fmla="*/ 12 w 14"/>
                <a:gd name="T11" fmla="*/ 7 h 32"/>
                <a:gd name="T12" fmla="*/ 12 w 14"/>
                <a:gd name="T13" fmla="*/ 5 h 32"/>
                <a:gd name="T14" fmla="*/ 10 w 14"/>
                <a:gd name="T15" fmla="*/ 0 h 32"/>
                <a:gd name="T16" fmla="*/ 0 w 14"/>
                <a:gd name="T17" fmla="*/ 14 h 32"/>
                <a:gd name="T18" fmla="*/ 0 w 14"/>
                <a:gd name="T19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32">
                  <a:moveTo>
                    <a:pt x="0" y="17"/>
                  </a:moveTo>
                  <a:cubicBezTo>
                    <a:pt x="0" y="23"/>
                    <a:pt x="6" y="32"/>
                    <a:pt x="6" y="32"/>
                  </a:cubicBezTo>
                  <a:cubicBezTo>
                    <a:pt x="8" y="27"/>
                    <a:pt x="9" y="24"/>
                    <a:pt x="13" y="19"/>
                  </a:cubicBezTo>
                  <a:cubicBezTo>
                    <a:pt x="14" y="16"/>
                    <a:pt x="13" y="11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6"/>
                    <a:pt x="12" y="5"/>
                  </a:cubicBezTo>
                  <a:cubicBezTo>
                    <a:pt x="11" y="2"/>
                    <a:pt x="10" y="0"/>
                    <a:pt x="10" y="0"/>
                  </a:cubicBezTo>
                  <a:cubicBezTo>
                    <a:pt x="6" y="4"/>
                    <a:pt x="3" y="8"/>
                    <a:pt x="0" y="14"/>
                  </a:cubicBezTo>
                  <a:cubicBezTo>
                    <a:pt x="0" y="15"/>
                    <a:pt x="0" y="16"/>
                    <a:pt x="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D0D5B333-00EF-4A42-9985-98A604097D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900" y="1471613"/>
              <a:ext cx="87313" cy="192088"/>
            </a:xfrm>
            <a:custGeom>
              <a:avLst/>
              <a:gdLst>
                <a:gd name="T0" fmla="*/ 0 w 14"/>
                <a:gd name="T1" fmla="*/ 18 h 31"/>
                <a:gd name="T2" fmla="*/ 0 w 14"/>
                <a:gd name="T3" fmla="*/ 19 h 31"/>
                <a:gd name="T4" fmla="*/ 13 w 14"/>
                <a:gd name="T5" fmla="*/ 31 h 31"/>
                <a:gd name="T6" fmla="*/ 13 w 14"/>
                <a:gd name="T7" fmla="*/ 29 h 31"/>
                <a:gd name="T8" fmla="*/ 13 w 14"/>
                <a:gd name="T9" fmla="*/ 28 h 31"/>
                <a:gd name="T10" fmla="*/ 13 w 14"/>
                <a:gd name="T11" fmla="*/ 27 h 31"/>
                <a:gd name="T12" fmla="*/ 14 w 14"/>
                <a:gd name="T13" fmla="*/ 16 h 31"/>
                <a:gd name="T14" fmla="*/ 3 w 14"/>
                <a:gd name="T15" fmla="*/ 0 h 31"/>
                <a:gd name="T16" fmla="*/ 0 w 14"/>
                <a:gd name="T17" fmla="*/ 17 h 31"/>
                <a:gd name="T18" fmla="*/ 0 w 14"/>
                <a:gd name="T19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31">
                  <a:moveTo>
                    <a:pt x="0" y="18"/>
                  </a:moveTo>
                  <a:cubicBezTo>
                    <a:pt x="0" y="18"/>
                    <a:pt x="0" y="19"/>
                    <a:pt x="0" y="19"/>
                  </a:cubicBezTo>
                  <a:cubicBezTo>
                    <a:pt x="0" y="24"/>
                    <a:pt x="13" y="31"/>
                    <a:pt x="13" y="31"/>
                  </a:cubicBezTo>
                  <a:cubicBezTo>
                    <a:pt x="13" y="30"/>
                    <a:pt x="13" y="29"/>
                    <a:pt x="13" y="29"/>
                  </a:cubicBezTo>
                  <a:cubicBezTo>
                    <a:pt x="13" y="29"/>
                    <a:pt x="13" y="28"/>
                    <a:pt x="13" y="28"/>
                  </a:cubicBezTo>
                  <a:cubicBezTo>
                    <a:pt x="13" y="28"/>
                    <a:pt x="13" y="27"/>
                    <a:pt x="13" y="27"/>
                  </a:cubicBezTo>
                  <a:cubicBezTo>
                    <a:pt x="13" y="23"/>
                    <a:pt x="14" y="21"/>
                    <a:pt x="14" y="16"/>
                  </a:cubicBezTo>
                  <a:cubicBezTo>
                    <a:pt x="12" y="10"/>
                    <a:pt x="3" y="0"/>
                    <a:pt x="3" y="0"/>
                  </a:cubicBezTo>
                  <a:cubicBezTo>
                    <a:pt x="2" y="6"/>
                    <a:pt x="0" y="10"/>
                    <a:pt x="0" y="17"/>
                  </a:cubicBezTo>
                  <a:cubicBezTo>
                    <a:pt x="0" y="18"/>
                    <a:pt x="0" y="18"/>
                    <a:pt x="0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FB3BDC2F-666B-4EBC-A5B4-05A3CFFCF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4950" y="1819275"/>
              <a:ext cx="136525" cy="130175"/>
            </a:xfrm>
            <a:custGeom>
              <a:avLst/>
              <a:gdLst>
                <a:gd name="T0" fmla="*/ 16 w 22"/>
                <a:gd name="T1" fmla="*/ 8 h 21"/>
                <a:gd name="T2" fmla="*/ 0 w 22"/>
                <a:gd name="T3" fmla="*/ 0 h 21"/>
                <a:gd name="T4" fmla="*/ 1 w 22"/>
                <a:gd name="T5" fmla="*/ 1 h 21"/>
                <a:gd name="T6" fmla="*/ 1 w 22"/>
                <a:gd name="T7" fmla="*/ 1 h 21"/>
                <a:gd name="T8" fmla="*/ 5 w 22"/>
                <a:gd name="T9" fmla="*/ 16 h 21"/>
                <a:gd name="T10" fmla="*/ 22 w 22"/>
                <a:gd name="T11" fmla="*/ 21 h 21"/>
                <a:gd name="T12" fmla="*/ 21 w 22"/>
                <a:gd name="T13" fmla="*/ 18 h 21"/>
                <a:gd name="T14" fmla="*/ 16 w 22"/>
                <a:gd name="T15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6" y="8"/>
                  </a:moveTo>
                  <a:cubicBezTo>
                    <a:pt x="14" y="3"/>
                    <a:pt x="0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7"/>
                    <a:pt x="2" y="10"/>
                    <a:pt x="5" y="16"/>
                  </a:cubicBezTo>
                  <a:cubicBezTo>
                    <a:pt x="7" y="20"/>
                    <a:pt x="22" y="21"/>
                    <a:pt x="22" y="21"/>
                  </a:cubicBezTo>
                  <a:cubicBezTo>
                    <a:pt x="22" y="20"/>
                    <a:pt x="21" y="19"/>
                    <a:pt x="21" y="18"/>
                  </a:cubicBezTo>
                  <a:cubicBezTo>
                    <a:pt x="19" y="15"/>
                    <a:pt x="18" y="12"/>
                    <a:pt x="1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2A1DCF47-8E34-4C78-B1EF-F0FD4D4B5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5125" y="1770063"/>
              <a:ext cx="80963" cy="166688"/>
            </a:xfrm>
            <a:custGeom>
              <a:avLst/>
              <a:gdLst>
                <a:gd name="T0" fmla="*/ 0 w 13"/>
                <a:gd name="T1" fmla="*/ 13 h 27"/>
                <a:gd name="T2" fmla="*/ 0 w 13"/>
                <a:gd name="T3" fmla="*/ 13 h 27"/>
                <a:gd name="T4" fmla="*/ 0 w 13"/>
                <a:gd name="T5" fmla="*/ 13 h 27"/>
                <a:gd name="T6" fmla="*/ 0 w 13"/>
                <a:gd name="T7" fmla="*/ 13 h 27"/>
                <a:gd name="T8" fmla="*/ 0 w 13"/>
                <a:gd name="T9" fmla="*/ 13 h 27"/>
                <a:gd name="T10" fmla="*/ 0 w 13"/>
                <a:gd name="T11" fmla="*/ 13 h 27"/>
                <a:gd name="T12" fmla="*/ 6 w 13"/>
                <a:gd name="T13" fmla="*/ 27 h 27"/>
                <a:gd name="T14" fmla="*/ 13 w 13"/>
                <a:gd name="T15" fmla="*/ 11 h 27"/>
                <a:gd name="T16" fmla="*/ 13 w 13"/>
                <a:gd name="T17" fmla="*/ 10 h 27"/>
                <a:gd name="T18" fmla="*/ 10 w 13"/>
                <a:gd name="T19" fmla="*/ 0 h 27"/>
                <a:gd name="T20" fmla="*/ 0 w 13"/>
                <a:gd name="T2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27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20"/>
                    <a:pt x="4" y="23"/>
                    <a:pt x="6" y="27"/>
                  </a:cubicBezTo>
                  <a:cubicBezTo>
                    <a:pt x="6" y="27"/>
                    <a:pt x="12" y="18"/>
                    <a:pt x="13" y="11"/>
                  </a:cubicBezTo>
                  <a:cubicBezTo>
                    <a:pt x="13" y="11"/>
                    <a:pt x="13" y="10"/>
                    <a:pt x="13" y="10"/>
                  </a:cubicBezTo>
                  <a:cubicBezTo>
                    <a:pt x="13" y="5"/>
                    <a:pt x="11" y="4"/>
                    <a:pt x="10" y="0"/>
                  </a:cubicBezTo>
                  <a:cubicBezTo>
                    <a:pt x="10" y="0"/>
                    <a:pt x="0" y="7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9064C629-7348-428F-961C-062BBB7BE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8613" y="1646238"/>
              <a:ext cx="85725" cy="160338"/>
            </a:xfrm>
            <a:custGeom>
              <a:avLst/>
              <a:gdLst>
                <a:gd name="T0" fmla="*/ 14 w 14"/>
                <a:gd name="T1" fmla="*/ 1 h 26"/>
                <a:gd name="T2" fmla="*/ 14 w 14"/>
                <a:gd name="T3" fmla="*/ 0 h 26"/>
                <a:gd name="T4" fmla="*/ 13 w 14"/>
                <a:gd name="T5" fmla="*/ 0 h 26"/>
                <a:gd name="T6" fmla="*/ 0 w 14"/>
                <a:gd name="T7" fmla="*/ 11 h 26"/>
                <a:gd name="T8" fmla="*/ 0 w 14"/>
                <a:gd name="T9" fmla="*/ 13 h 26"/>
                <a:gd name="T10" fmla="*/ 4 w 14"/>
                <a:gd name="T11" fmla="*/ 26 h 26"/>
                <a:gd name="T12" fmla="*/ 14 w 14"/>
                <a:gd name="T13" fmla="*/ 11 h 26"/>
                <a:gd name="T14" fmla="*/ 14 w 14"/>
                <a:gd name="T15" fmla="*/ 11 h 26"/>
                <a:gd name="T16" fmla="*/ 14 w 14"/>
                <a:gd name="T17" fmla="*/ 11 h 26"/>
                <a:gd name="T18" fmla="*/ 14 w 14"/>
                <a:gd name="T19" fmla="*/ 11 h 26"/>
                <a:gd name="T20" fmla="*/ 14 w 14"/>
                <a:gd name="T21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26">
                  <a:moveTo>
                    <a:pt x="14" y="1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1" y="1"/>
                    <a:pt x="1" y="6"/>
                    <a:pt x="0" y="11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8"/>
                    <a:pt x="2" y="21"/>
                    <a:pt x="4" y="26"/>
                  </a:cubicBezTo>
                  <a:cubicBezTo>
                    <a:pt x="4" y="26"/>
                    <a:pt x="14" y="16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7"/>
                    <a:pt x="14" y="4"/>
                    <a:pt x="1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AFEE1A57-0EEE-4294-8708-0F186B8224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263" y="1533525"/>
              <a:ext cx="104775" cy="130175"/>
            </a:xfrm>
            <a:custGeom>
              <a:avLst/>
              <a:gdLst>
                <a:gd name="T0" fmla="*/ 17 w 17"/>
                <a:gd name="T1" fmla="*/ 0 h 21"/>
                <a:gd name="T2" fmla="*/ 2 w 17"/>
                <a:gd name="T3" fmla="*/ 6 h 21"/>
                <a:gd name="T4" fmla="*/ 1 w 17"/>
                <a:gd name="T5" fmla="*/ 17 h 21"/>
                <a:gd name="T6" fmla="*/ 1 w 17"/>
                <a:gd name="T7" fmla="*/ 18 h 21"/>
                <a:gd name="T8" fmla="*/ 1 w 17"/>
                <a:gd name="T9" fmla="*/ 19 h 21"/>
                <a:gd name="T10" fmla="*/ 1 w 17"/>
                <a:gd name="T11" fmla="*/ 21 h 21"/>
                <a:gd name="T12" fmla="*/ 15 w 17"/>
                <a:gd name="T13" fmla="*/ 10 h 21"/>
                <a:gd name="T14" fmla="*/ 16 w 17"/>
                <a:gd name="T15" fmla="*/ 6 h 21"/>
                <a:gd name="T16" fmla="*/ 16 w 17"/>
                <a:gd name="T17" fmla="*/ 6 h 21"/>
                <a:gd name="T18" fmla="*/ 16 w 17"/>
                <a:gd name="T19" fmla="*/ 6 h 21"/>
                <a:gd name="T20" fmla="*/ 17 w 17"/>
                <a:gd name="T2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21">
                  <a:moveTo>
                    <a:pt x="17" y="0"/>
                  </a:moveTo>
                  <a:cubicBezTo>
                    <a:pt x="17" y="0"/>
                    <a:pt x="4" y="2"/>
                    <a:pt x="2" y="6"/>
                  </a:cubicBezTo>
                  <a:cubicBezTo>
                    <a:pt x="0" y="10"/>
                    <a:pt x="1" y="13"/>
                    <a:pt x="1" y="17"/>
                  </a:cubicBezTo>
                  <a:cubicBezTo>
                    <a:pt x="1" y="17"/>
                    <a:pt x="1" y="19"/>
                    <a:pt x="1" y="18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20"/>
                    <a:pt x="1" y="20"/>
                    <a:pt x="1" y="21"/>
                  </a:cubicBezTo>
                  <a:cubicBezTo>
                    <a:pt x="1" y="21"/>
                    <a:pt x="13" y="14"/>
                    <a:pt x="15" y="10"/>
                  </a:cubicBezTo>
                  <a:cubicBezTo>
                    <a:pt x="16" y="8"/>
                    <a:pt x="16" y="7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3"/>
                    <a:pt x="16" y="2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BB98C56B-B515-48A0-B08D-FDB9FB799F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0525" y="1309688"/>
              <a:ext cx="141288" cy="87313"/>
            </a:xfrm>
            <a:custGeom>
              <a:avLst/>
              <a:gdLst>
                <a:gd name="T0" fmla="*/ 22 w 23"/>
                <a:gd name="T1" fmla="*/ 1 h 14"/>
                <a:gd name="T2" fmla="*/ 6 w 23"/>
                <a:gd name="T3" fmla="*/ 2 h 14"/>
                <a:gd name="T4" fmla="*/ 1 w 23"/>
                <a:gd name="T5" fmla="*/ 11 h 14"/>
                <a:gd name="T6" fmla="*/ 0 w 23"/>
                <a:gd name="T7" fmla="*/ 14 h 14"/>
                <a:gd name="T8" fmla="*/ 16 w 23"/>
                <a:gd name="T9" fmla="*/ 11 h 14"/>
                <a:gd name="T10" fmla="*/ 23 w 23"/>
                <a:gd name="T11" fmla="*/ 1 h 14"/>
                <a:gd name="T12" fmla="*/ 22 w 23"/>
                <a:gd name="T1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4">
                  <a:moveTo>
                    <a:pt x="22" y="1"/>
                  </a:moveTo>
                  <a:cubicBezTo>
                    <a:pt x="18" y="1"/>
                    <a:pt x="8" y="0"/>
                    <a:pt x="6" y="2"/>
                  </a:cubicBezTo>
                  <a:cubicBezTo>
                    <a:pt x="3" y="6"/>
                    <a:pt x="1" y="11"/>
                    <a:pt x="1" y="11"/>
                  </a:cubicBezTo>
                  <a:cubicBezTo>
                    <a:pt x="0" y="12"/>
                    <a:pt x="0" y="13"/>
                    <a:pt x="0" y="14"/>
                  </a:cubicBezTo>
                  <a:cubicBezTo>
                    <a:pt x="0" y="14"/>
                    <a:pt x="13" y="14"/>
                    <a:pt x="16" y="11"/>
                  </a:cubicBezTo>
                  <a:cubicBezTo>
                    <a:pt x="20" y="7"/>
                    <a:pt x="21" y="4"/>
                    <a:pt x="23" y="1"/>
                  </a:cubicBezTo>
                  <a:cubicBezTo>
                    <a:pt x="23" y="1"/>
                    <a:pt x="23" y="1"/>
                    <a:pt x="2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5">
              <a:extLst>
                <a:ext uri="{FF2B5EF4-FFF2-40B4-BE49-F238E27FC236}">
                  <a16:creationId xmlns:a16="http://schemas.microsoft.com/office/drawing/2014/main" id="{9000FB05-2CB5-4399-B014-1FFC6FB537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9725" y="1416050"/>
              <a:ext cx="123825" cy="104775"/>
            </a:xfrm>
            <a:custGeom>
              <a:avLst/>
              <a:gdLst>
                <a:gd name="T0" fmla="*/ 20 w 20"/>
                <a:gd name="T1" fmla="*/ 1 h 17"/>
                <a:gd name="T2" fmla="*/ 5 w 20"/>
                <a:gd name="T3" fmla="*/ 3 h 17"/>
                <a:gd name="T4" fmla="*/ 1 w 20"/>
                <a:gd name="T5" fmla="*/ 15 h 17"/>
                <a:gd name="T6" fmla="*/ 0 w 20"/>
                <a:gd name="T7" fmla="*/ 17 h 17"/>
                <a:gd name="T8" fmla="*/ 16 w 20"/>
                <a:gd name="T9" fmla="*/ 10 h 17"/>
                <a:gd name="T10" fmla="*/ 20 w 20"/>
                <a:gd name="T11" fmla="*/ 2 h 17"/>
                <a:gd name="T12" fmla="*/ 20 w 20"/>
                <a:gd name="T13" fmla="*/ 2 h 17"/>
                <a:gd name="T14" fmla="*/ 20 w 20"/>
                <a:gd name="T15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7">
                  <a:moveTo>
                    <a:pt x="20" y="1"/>
                  </a:moveTo>
                  <a:cubicBezTo>
                    <a:pt x="20" y="1"/>
                    <a:pt x="8" y="0"/>
                    <a:pt x="5" y="3"/>
                  </a:cubicBezTo>
                  <a:cubicBezTo>
                    <a:pt x="2" y="7"/>
                    <a:pt x="2" y="11"/>
                    <a:pt x="1" y="15"/>
                  </a:cubicBezTo>
                  <a:cubicBezTo>
                    <a:pt x="1" y="16"/>
                    <a:pt x="1" y="17"/>
                    <a:pt x="0" y="17"/>
                  </a:cubicBezTo>
                  <a:cubicBezTo>
                    <a:pt x="0" y="17"/>
                    <a:pt x="13" y="15"/>
                    <a:pt x="16" y="10"/>
                  </a:cubicBezTo>
                  <a:cubicBezTo>
                    <a:pt x="18" y="7"/>
                    <a:pt x="19" y="5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20" y="1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3DADE2E5-2045-433E-8C9E-81B061BEF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7650" y="1322388"/>
              <a:ext cx="98425" cy="192088"/>
            </a:xfrm>
            <a:custGeom>
              <a:avLst/>
              <a:gdLst>
                <a:gd name="T0" fmla="*/ 10 w 16"/>
                <a:gd name="T1" fmla="*/ 31 h 31"/>
                <a:gd name="T2" fmla="*/ 11 w 16"/>
                <a:gd name="T3" fmla="*/ 29 h 31"/>
                <a:gd name="T4" fmla="*/ 11 w 16"/>
                <a:gd name="T5" fmla="*/ 29 h 31"/>
                <a:gd name="T6" fmla="*/ 14 w 16"/>
                <a:gd name="T7" fmla="*/ 19 h 31"/>
                <a:gd name="T8" fmla="*/ 8 w 16"/>
                <a:gd name="T9" fmla="*/ 0 h 31"/>
                <a:gd name="T10" fmla="*/ 1 w 16"/>
                <a:gd name="T11" fmla="*/ 16 h 31"/>
                <a:gd name="T12" fmla="*/ 1 w 16"/>
                <a:gd name="T13" fmla="*/ 16 h 31"/>
                <a:gd name="T14" fmla="*/ 1 w 16"/>
                <a:gd name="T15" fmla="*/ 16 h 31"/>
                <a:gd name="T16" fmla="*/ 10 w 16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31">
                  <a:moveTo>
                    <a:pt x="10" y="31"/>
                  </a:moveTo>
                  <a:cubicBezTo>
                    <a:pt x="11" y="30"/>
                    <a:pt x="11" y="30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2" y="26"/>
                    <a:pt x="13" y="23"/>
                    <a:pt x="14" y="19"/>
                  </a:cubicBezTo>
                  <a:cubicBezTo>
                    <a:pt x="16" y="12"/>
                    <a:pt x="8" y="0"/>
                    <a:pt x="8" y="0"/>
                  </a:cubicBezTo>
                  <a:cubicBezTo>
                    <a:pt x="5" y="6"/>
                    <a:pt x="2" y="8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0" y="23"/>
                    <a:pt x="10" y="31"/>
                    <a:pt x="10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4D5E32E9-155D-4CD2-BC6C-0BB8DC5481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900" y="1646238"/>
              <a:ext cx="100013" cy="166688"/>
            </a:xfrm>
            <a:custGeom>
              <a:avLst/>
              <a:gdLst>
                <a:gd name="T0" fmla="*/ 16 w 16"/>
                <a:gd name="T1" fmla="*/ 24 h 27"/>
                <a:gd name="T2" fmla="*/ 14 w 16"/>
                <a:gd name="T3" fmla="*/ 12 h 27"/>
                <a:gd name="T4" fmla="*/ 0 w 16"/>
                <a:gd name="T5" fmla="*/ 0 h 27"/>
                <a:gd name="T6" fmla="*/ 0 w 16"/>
                <a:gd name="T7" fmla="*/ 0 h 27"/>
                <a:gd name="T8" fmla="*/ 0 w 16"/>
                <a:gd name="T9" fmla="*/ 1 h 27"/>
                <a:gd name="T10" fmla="*/ 0 w 16"/>
                <a:gd name="T11" fmla="*/ 8 h 27"/>
                <a:gd name="T12" fmla="*/ 0 w 16"/>
                <a:gd name="T13" fmla="*/ 8 h 27"/>
                <a:gd name="T14" fmla="*/ 1 w 16"/>
                <a:gd name="T15" fmla="*/ 19 h 27"/>
                <a:gd name="T16" fmla="*/ 16 w 16"/>
                <a:gd name="T17" fmla="*/ 27 h 27"/>
                <a:gd name="T18" fmla="*/ 16 w 16"/>
                <a:gd name="T19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27">
                  <a:moveTo>
                    <a:pt x="16" y="24"/>
                  </a:moveTo>
                  <a:cubicBezTo>
                    <a:pt x="15" y="20"/>
                    <a:pt x="14" y="17"/>
                    <a:pt x="14" y="12"/>
                  </a:cubicBezTo>
                  <a:cubicBezTo>
                    <a:pt x="13" y="7"/>
                    <a:pt x="2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3"/>
                    <a:pt x="0" y="6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2"/>
                    <a:pt x="0" y="15"/>
                    <a:pt x="1" y="19"/>
                  </a:cubicBezTo>
                  <a:cubicBezTo>
                    <a:pt x="2" y="22"/>
                    <a:pt x="7" y="25"/>
                    <a:pt x="16" y="27"/>
                  </a:cubicBezTo>
                  <a:cubicBezTo>
                    <a:pt x="16" y="26"/>
                    <a:pt x="16" y="25"/>
                    <a:pt x="1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0A03FFDE-B768-41F0-B008-5F416F920B1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2250" y="1322388"/>
              <a:ext cx="98425" cy="192088"/>
            </a:xfrm>
            <a:custGeom>
              <a:avLst/>
              <a:gdLst>
                <a:gd name="T0" fmla="*/ 1 w 16"/>
                <a:gd name="T1" fmla="*/ 19 h 31"/>
                <a:gd name="T2" fmla="*/ 4 w 16"/>
                <a:gd name="T3" fmla="*/ 29 h 31"/>
                <a:gd name="T4" fmla="*/ 4 w 16"/>
                <a:gd name="T5" fmla="*/ 29 h 31"/>
                <a:gd name="T6" fmla="*/ 5 w 16"/>
                <a:gd name="T7" fmla="*/ 31 h 31"/>
                <a:gd name="T8" fmla="*/ 15 w 16"/>
                <a:gd name="T9" fmla="*/ 16 h 31"/>
                <a:gd name="T10" fmla="*/ 15 w 16"/>
                <a:gd name="T11" fmla="*/ 16 h 31"/>
                <a:gd name="T12" fmla="*/ 15 w 16"/>
                <a:gd name="T13" fmla="*/ 16 h 31"/>
                <a:gd name="T14" fmla="*/ 8 w 16"/>
                <a:gd name="T15" fmla="*/ 0 h 31"/>
                <a:gd name="T16" fmla="*/ 1 w 16"/>
                <a:gd name="T17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31">
                  <a:moveTo>
                    <a:pt x="1" y="19"/>
                  </a:moveTo>
                  <a:cubicBezTo>
                    <a:pt x="3" y="23"/>
                    <a:pt x="4" y="26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5" y="30"/>
                    <a:pt x="5" y="31"/>
                  </a:cubicBezTo>
                  <a:cubicBezTo>
                    <a:pt x="5" y="31"/>
                    <a:pt x="16" y="23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3" y="8"/>
                    <a:pt x="11" y="6"/>
                    <a:pt x="8" y="0"/>
                  </a:cubicBezTo>
                  <a:cubicBezTo>
                    <a:pt x="8" y="0"/>
                    <a:pt x="0" y="12"/>
                    <a:pt x="1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D61E2BE2-9372-4B52-B77A-60A7EA17E4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8763" y="1471613"/>
              <a:ext cx="87313" cy="192088"/>
            </a:xfrm>
            <a:custGeom>
              <a:avLst/>
              <a:gdLst>
                <a:gd name="T0" fmla="*/ 1 w 14"/>
                <a:gd name="T1" fmla="*/ 27 h 31"/>
                <a:gd name="T2" fmla="*/ 1 w 14"/>
                <a:gd name="T3" fmla="*/ 28 h 31"/>
                <a:gd name="T4" fmla="*/ 1 w 14"/>
                <a:gd name="T5" fmla="*/ 29 h 31"/>
                <a:gd name="T6" fmla="*/ 1 w 14"/>
                <a:gd name="T7" fmla="*/ 31 h 31"/>
                <a:gd name="T8" fmla="*/ 14 w 14"/>
                <a:gd name="T9" fmla="*/ 19 h 31"/>
                <a:gd name="T10" fmla="*/ 14 w 14"/>
                <a:gd name="T11" fmla="*/ 18 h 31"/>
                <a:gd name="T12" fmla="*/ 14 w 14"/>
                <a:gd name="T13" fmla="*/ 17 h 31"/>
                <a:gd name="T14" fmla="*/ 11 w 14"/>
                <a:gd name="T15" fmla="*/ 0 h 31"/>
                <a:gd name="T16" fmla="*/ 1 w 14"/>
                <a:gd name="T17" fmla="*/ 16 h 31"/>
                <a:gd name="T18" fmla="*/ 1 w 14"/>
                <a:gd name="T19" fmla="*/ 2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31">
                  <a:moveTo>
                    <a:pt x="1" y="27"/>
                  </a:moveTo>
                  <a:cubicBezTo>
                    <a:pt x="1" y="27"/>
                    <a:pt x="1" y="28"/>
                    <a:pt x="1" y="28"/>
                  </a:cubicBezTo>
                  <a:cubicBezTo>
                    <a:pt x="1" y="28"/>
                    <a:pt x="1" y="29"/>
                    <a:pt x="1" y="29"/>
                  </a:cubicBezTo>
                  <a:cubicBezTo>
                    <a:pt x="1" y="29"/>
                    <a:pt x="1" y="30"/>
                    <a:pt x="1" y="31"/>
                  </a:cubicBezTo>
                  <a:cubicBezTo>
                    <a:pt x="1" y="31"/>
                    <a:pt x="14" y="24"/>
                    <a:pt x="14" y="19"/>
                  </a:cubicBezTo>
                  <a:cubicBezTo>
                    <a:pt x="14" y="19"/>
                    <a:pt x="14" y="18"/>
                    <a:pt x="14" y="18"/>
                  </a:cubicBezTo>
                  <a:cubicBezTo>
                    <a:pt x="14" y="18"/>
                    <a:pt x="14" y="18"/>
                    <a:pt x="14" y="17"/>
                  </a:cubicBezTo>
                  <a:cubicBezTo>
                    <a:pt x="14" y="10"/>
                    <a:pt x="13" y="6"/>
                    <a:pt x="11" y="0"/>
                  </a:cubicBezTo>
                  <a:cubicBezTo>
                    <a:pt x="11" y="0"/>
                    <a:pt x="2" y="10"/>
                    <a:pt x="1" y="16"/>
                  </a:cubicBezTo>
                  <a:cubicBezTo>
                    <a:pt x="0" y="21"/>
                    <a:pt x="1" y="23"/>
                    <a:pt x="1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20">
              <a:extLst>
                <a:ext uri="{FF2B5EF4-FFF2-40B4-BE49-F238E27FC236}">
                  <a16:creationId xmlns:a16="http://schemas.microsoft.com/office/drawing/2014/main" id="{D11D7CA6-CB8E-4176-9921-15C9CB83B39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6063" y="1646238"/>
              <a:ext cx="106363" cy="166688"/>
            </a:xfrm>
            <a:custGeom>
              <a:avLst/>
              <a:gdLst>
                <a:gd name="T0" fmla="*/ 17 w 17"/>
                <a:gd name="T1" fmla="*/ 1 h 27"/>
                <a:gd name="T2" fmla="*/ 17 w 17"/>
                <a:gd name="T3" fmla="*/ 0 h 27"/>
                <a:gd name="T4" fmla="*/ 16 w 17"/>
                <a:gd name="T5" fmla="*/ 0 h 27"/>
                <a:gd name="T6" fmla="*/ 3 w 17"/>
                <a:gd name="T7" fmla="*/ 12 h 27"/>
                <a:gd name="T8" fmla="*/ 1 w 17"/>
                <a:gd name="T9" fmla="*/ 24 h 27"/>
                <a:gd name="T10" fmla="*/ 0 w 17"/>
                <a:gd name="T11" fmla="*/ 27 h 27"/>
                <a:gd name="T12" fmla="*/ 15 w 17"/>
                <a:gd name="T13" fmla="*/ 19 h 27"/>
                <a:gd name="T14" fmla="*/ 17 w 17"/>
                <a:gd name="T15" fmla="*/ 8 h 27"/>
                <a:gd name="T16" fmla="*/ 17 w 17"/>
                <a:gd name="T17" fmla="*/ 8 h 27"/>
                <a:gd name="T18" fmla="*/ 17 w 17"/>
                <a:gd name="T19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27">
                  <a:moveTo>
                    <a:pt x="17" y="1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4" y="1"/>
                    <a:pt x="3" y="7"/>
                    <a:pt x="3" y="12"/>
                  </a:cubicBezTo>
                  <a:cubicBezTo>
                    <a:pt x="2" y="17"/>
                    <a:pt x="2" y="20"/>
                    <a:pt x="1" y="24"/>
                  </a:cubicBezTo>
                  <a:cubicBezTo>
                    <a:pt x="0" y="25"/>
                    <a:pt x="0" y="26"/>
                    <a:pt x="0" y="27"/>
                  </a:cubicBezTo>
                  <a:cubicBezTo>
                    <a:pt x="9" y="25"/>
                    <a:pt x="14" y="22"/>
                    <a:pt x="15" y="19"/>
                  </a:cubicBezTo>
                  <a:cubicBezTo>
                    <a:pt x="16" y="15"/>
                    <a:pt x="16" y="12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6"/>
                    <a:pt x="17" y="3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21">
              <a:extLst>
                <a:ext uri="{FF2B5EF4-FFF2-40B4-BE49-F238E27FC236}">
                  <a16:creationId xmlns:a16="http://schemas.microsoft.com/office/drawing/2014/main" id="{C669877D-1BF7-4672-9588-B432F1EB6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0500" y="1819275"/>
              <a:ext cx="136525" cy="130175"/>
            </a:xfrm>
            <a:custGeom>
              <a:avLst/>
              <a:gdLst>
                <a:gd name="T0" fmla="*/ 6 w 22"/>
                <a:gd name="T1" fmla="*/ 8 h 21"/>
                <a:gd name="T2" fmla="*/ 1 w 22"/>
                <a:gd name="T3" fmla="*/ 18 h 21"/>
                <a:gd name="T4" fmla="*/ 0 w 22"/>
                <a:gd name="T5" fmla="*/ 21 h 21"/>
                <a:gd name="T6" fmla="*/ 17 w 22"/>
                <a:gd name="T7" fmla="*/ 16 h 21"/>
                <a:gd name="T8" fmla="*/ 22 w 22"/>
                <a:gd name="T9" fmla="*/ 1 h 21"/>
                <a:gd name="T10" fmla="*/ 22 w 22"/>
                <a:gd name="T11" fmla="*/ 1 h 21"/>
                <a:gd name="T12" fmla="*/ 22 w 22"/>
                <a:gd name="T13" fmla="*/ 0 h 21"/>
                <a:gd name="T14" fmla="*/ 6 w 22"/>
                <a:gd name="T15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6" y="8"/>
                  </a:moveTo>
                  <a:cubicBezTo>
                    <a:pt x="4" y="12"/>
                    <a:pt x="3" y="15"/>
                    <a:pt x="1" y="18"/>
                  </a:cubicBezTo>
                  <a:cubicBezTo>
                    <a:pt x="1" y="19"/>
                    <a:pt x="0" y="20"/>
                    <a:pt x="0" y="21"/>
                  </a:cubicBezTo>
                  <a:cubicBezTo>
                    <a:pt x="0" y="21"/>
                    <a:pt x="15" y="20"/>
                    <a:pt x="17" y="16"/>
                  </a:cubicBezTo>
                  <a:cubicBezTo>
                    <a:pt x="20" y="10"/>
                    <a:pt x="21" y="7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0"/>
                    <a:pt x="22" y="0"/>
                  </a:cubicBezTo>
                  <a:cubicBezTo>
                    <a:pt x="22" y="0"/>
                    <a:pt x="8" y="3"/>
                    <a:pt x="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587F2BFC-2B5B-4900-9C0E-2541CC8090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7638" y="1646238"/>
              <a:ext cx="87313" cy="160338"/>
            </a:xfrm>
            <a:custGeom>
              <a:avLst/>
              <a:gdLst>
                <a:gd name="T0" fmla="*/ 0 w 14"/>
                <a:gd name="T1" fmla="*/ 11 h 26"/>
                <a:gd name="T2" fmla="*/ 11 w 14"/>
                <a:gd name="T3" fmla="*/ 26 h 26"/>
                <a:gd name="T4" fmla="*/ 14 w 14"/>
                <a:gd name="T5" fmla="*/ 13 h 26"/>
                <a:gd name="T6" fmla="*/ 14 w 14"/>
                <a:gd name="T7" fmla="*/ 11 h 26"/>
                <a:gd name="T8" fmla="*/ 1 w 14"/>
                <a:gd name="T9" fmla="*/ 0 h 26"/>
                <a:gd name="T10" fmla="*/ 1 w 14"/>
                <a:gd name="T11" fmla="*/ 0 h 26"/>
                <a:gd name="T12" fmla="*/ 1 w 14"/>
                <a:gd name="T13" fmla="*/ 1 h 26"/>
                <a:gd name="T14" fmla="*/ 0 w 14"/>
                <a:gd name="T15" fmla="*/ 11 h 26"/>
                <a:gd name="T16" fmla="*/ 0 w 14"/>
                <a:gd name="T17" fmla="*/ 11 h 26"/>
                <a:gd name="T18" fmla="*/ 0 w 14"/>
                <a:gd name="T19" fmla="*/ 11 h 26"/>
                <a:gd name="T20" fmla="*/ 0 w 14"/>
                <a:gd name="T21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26">
                  <a:moveTo>
                    <a:pt x="0" y="11"/>
                  </a:moveTo>
                  <a:cubicBezTo>
                    <a:pt x="0" y="16"/>
                    <a:pt x="11" y="26"/>
                    <a:pt x="11" y="26"/>
                  </a:cubicBezTo>
                  <a:cubicBezTo>
                    <a:pt x="12" y="21"/>
                    <a:pt x="14" y="18"/>
                    <a:pt x="14" y="13"/>
                  </a:cubicBezTo>
                  <a:cubicBezTo>
                    <a:pt x="14" y="13"/>
                    <a:pt x="14" y="12"/>
                    <a:pt x="14" y="11"/>
                  </a:cubicBezTo>
                  <a:cubicBezTo>
                    <a:pt x="13" y="6"/>
                    <a:pt x="3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4"/>
                    <a:pt x="0" y="7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23">
              <a:extLst>
                <a:ext uri="{FF2B5EF4-FFF2-40B4-BE49-F238E27FC236}">
                  <a16:creationId xmlns:a16="http://schemas.microsoft.com/office/drawing/2014/main" id="{94F1E73F-0FD4-48C1-8379-3F1E21D07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1288" y="1533525"/>
              <a:ext cx="98425" cy="130175"/>
            </a:xfrm>
            <a:custGeom>
              <a:avLst/>
              <a:gdLst>
                <a:gd name="T0" fmla="*/ 14 w 16"/>
                <a:gd name="T1" fmla="*/ 6 h 21"/>
                <a:gd name="T2" fmla="*/ 0 w 16"/>
                <a:gd name="T3" fmla="*/ 0 h 21"/>
                <a:gd name="T4" fmla="*/ 0 w 16"/>
                <a:gd name="T5" fmla="*/ 6 h 21"/>
                <a:gd name="T6" fmla="*/ 0 w 16"/>
                <a:gd name="T7" fmla="*/ 6 h 21"/>
                <a:gd name="T8" fmla="*/ 0 w 16"/>
                <a:gd name="T9" fmla="*/ 6 h 21"/>
                <a:gd name="T10" fmla="*/ 1 w 16"/>
                <a:gd name="T11" fmla="*/ 10 h 21"/>
                <a:gd name="T12" fmla="*/ 15 w 16"/>
                <a:gd name="T13" fmla="*/ 21 h 21"/>
                <a:gd name="T14" fmla="*/ 15 w 16"/>
                <a:gd name="T15" fmla="*/ 19 h 21"/>
                <a:gd name="T16" fmla="*/ 15 w 16"/>
                <a:gd name="T17" fmla="*/ 18 h 21"/>
                <a:gd name="T18" fmla="*/ 15 w 16"/>
                <a:gd name="T19" fmla="*/ 17 h 21"/>
                <a:gd name="T20" fmla="*/ 14 w 16"/>
                <a:gd name="T21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1">
                  <a:moveTo>
                    <a:pt x="14" y="6"/>
                  </a:moveTo>
                  <a:cubicBezTo>
                    <a:pt x="12" y="2"/>
                    <a:pt x="0" y="0"/>
                    <a:pt x="0" y="0"/>
                  </a:cubicBezTo>
                  <a:cubicBezTo>
                    <a:pt x="0" y="2"/>
                    <a:pt x="0" y="3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1" y="8"/>
                    <a:pt x="1" y="10"/>
                  </a:cubicBezTo>
                  <a:cubicBezTo>
                    <a:pt x="3" y="14"/>
                    <a:pt x="15" y="21"/>
                    <a:pt x="15" y="21"/>
                  </a:cubicBezTo>
                  <a:cubicBezTo>
                    <a:pt x="15" y="20"/>
                    <a:pt x="15" y="20"/>
                    <a:pt x="15" y="19"/>
                  </a:cubicBezTo>
                  <a:cubicBezTo>
                    <a:pt x="15" y="19"/>
                    <a:pt x="15" y="19"/>
                    <a:pt x="15" y="18"/>
                  </a:cubicBezTo>
                  <a:cubicBezTo>
                    <a:pt x="15" y="19"/>
                    <a:pt x="15" y="17"/>
                    <a:pt x="15" y="17"/>
                  </a:cubicBezTo>
                  <a:cubicBezTo>
                    <a:pt x="15" y="13"/>
                    <a:pt x="16" y="10"/>
                    <a:pt x="1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AB588180-CADB-4294-951C-0439BCDE2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8425" y="1416050"/>
              <a:ext cx="123825" cy="104775"/>
            </a:xfrm>
            <a:custGeom>
              <a:avLst/>
              <a:gdLst>
                <a:gd name="T0" fmla="*/ 1 w 20"/>
                <a:gd name="T1" fmla="*/ 2 h 17"/>
                <a:gd name="T2" fmla="*/ 4 w 20"/>
                <a:gd name="T3" fmla="*/ 10 h 17"/>
                <a:gd name="T4" fmla="*/ 20 w 20"/>
                <a:gd name="T5" fmla="*/ 17 h 17"/>
                <a:gd name="T6" fmla="*/ 19 w 20"/>
                <a:gd name="T7" fmla="*/ 15 h 17"/>
                <a:gd name="T8" fmla="*/ 16 w 20"/>
                <a:gd name="T9" fmla="*/ 3 h 17"/>
                <a:gd name="T10" fmla="*/ 0 w 20"/>
                <a:gd name="T11" fmla="*/ 1 h 17"/>
                <a:gd name="T12" fmla="*/ 1 w 20"/>
                <a:gd name="T13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7">
                  <a:moveTo>
                    <a:pt x="1" y="2"/>
                  </a:moveTo>
                  <a:cubicBezTo>
                    <a:pt x="2" y="5"/>
                    <a:pt x="2" y="7"/>
                    <a:pt x="4" y="10"/>
                  </a:cubicBezTo>
                  <a:cubicBezTo>
                    <a:pt x="7" y="15"/>
                    <a:pt x="20" y="17"/>
                    <a:pt x="20" y="17"/>
                  </a:cubicBezTo>
                  <a:cubicBezTo>
                    <a:pt x="20" y="17"/>
                    <a:pt x="20" y="16"/>
                    <a:pt x="19" y="15"/>
                  </a:cubicBezTo>
                  <a:cubicBezTo>
                    <a:pt x="19" y="11"/>
                    <a:pt x="18" y="7"/>
                    <a:pt x="16" y="3"/>
                  </a:cubicBezTo>
                  <a:cubicBezTo>
                    <a:pt x="13" y="0"/>
                    <a:pt x="0" y="1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93EAF311-78A0-4182-A461-B3757622D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0163" y="1309688"/>
              <a:ext cx="147638" cy="87313"/>
            </a:xfrm>
            <a:custGeom>
              <a:avLst/>
              <a:gdLst>
                <a:gd name="T0" fmla="*/ 24 w 24"/>
                <a:gd name="T1" fmla="*/ 14 h 14"/>
                <a:gd name="T2" fmla="*/ 23 w 24"/>
                <a:gd name="T3" fmla="*/ 11 h 14"/>
                <a:gd name="T4" fmla="*/ 17 w 24"/>
                <a:gd name="T5" fmla="*/ 2 h 14"/>
                <a:gd name="T6" fmla="*/ 1 w 24"/>
                <a:gd name="T7" fmla="*/ 1 h 14"/>
                <a:gd name="T8" fmla="*/ 0 w 24"/>
                <a:gd name="T9" fmla="*/ 1 h 14"/>
                <a:gd name="T10" fmla="*/ 7 w 24"/>
                <a:gd name="T11" fmla="*/ 11 h 14"/>
                <a:gd name="T12" fmla="*/ 24 w 24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4">
                  <a:moveTo>
                    <a:pt x="24" y="14"/>
                  </a:moveTo>
                  <a:cubicBezTo>
                    <a:pt x="23" y="13"/>
                    <a:pt x="23" y="12"/>
                    <a:pt x="23" y="11"/>
                  </a:cubicBezTo>
                  <a:cubicBezTo>
                    <a:pt x="23" y="11"/>
                    <a:pt x="20" y="6"/>
                    <a:pt x="17" y="2"/>
                  </a:cubicBezTo>
                  <a:cubicBezTo>
                    <a:pt x="15" y="0"/>
                    <a:pt x="5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4"/>
                    <a:pt x="4" y="7"/>
                    <a:pt x="7" y="11"/>
                  </a:cubicBezTo>
                  <a:cubicBezTo>
                    <a:pt x="10" y="14"/>
                    <a:pt x="24" y="14"/>
                    <a:pt x="24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26">
              <a:extLst>
                <a:ext uri="{FF2B5EF4-FFF2-40B4-BE49-F238E27FC236}">
                  <a16:creationId xmlns:a16="http://schemas.microsoft.com/office/drawing/2014/main" id="{0DDE51EB-7FD5-41D1-9D77-2E758417AE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5888" y="1770063"/>
              <a:ext cx="87313" cy="166688"/>
            </a:xfrm>
            <a:custGeom>
              <a:avLst/>
              <a:gdLst>
                <a:gd name="T0" fmla="*/ 13 w 14"/>
                <a:gd name="T1" fmla="*/ 13 h 27"/>
                <a:gd name="T2" fmla="*/ 13 w 14"/>
                <a:gd name="T3" fmla="*/ 13 h 27"/>
                <a:gd name="T4" fmla="*/ 13 w 14"/>
                <a:gd name="T5" fmla="*/ 13 h 27"/>
                <a:gd name="T6" fmla="*/ 13 w 14"/>
                <a:gd name="T7" fmla="*/ 13 h 27"/>
                <a:gd name="T8" fmla="*/ 13 w 14"/>
                <a:gd name="T9" fmla="*/ 13 h 27"/>
                <a:gd name="T10" fmla="*/ 4 w 14"/>
                <a:gd name="T11" fmla="*/ 0 h 27"/>
                <a:gd name="T12" fmla="*/ 0 w 14"/>
                <a:gd name="T13" fmla="*/ 10 h 27"/>
                <a:gd name="T14" fmla="*/ 0 w 14"/>
                <a:gd name="T15" fmla="*/ 11 h 27"/>
                <a:gd name="T16" fmla="*/ 7 w 14"/>
                <a:gd name="T17" fmla="*/ 27 h 27"/>
                <a:gd name="T18" fmla="*/ 13 w 14"/>
                <a:gd name="T19" fmla="*/ 13 h 27"/>
                <a:gd name="T20" fmla="*/ 13 w 14"/>
                <a:gd name="T21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27">
                  <a:moveTo>
                    <a:pt x="13" y="13"/>
                  </a:move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7"/>
                    <a:pt x="4" y="0"/>
                    <a:pt x="4" y="0"/>
                  </a:cubicBezTo>
                  <a:cubicBezTo>
                    <a:pt x="3" y="4"/>
                    <a:pt x="1" y="5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1" y="18"/>
                    <a:pt x="7" y="27"/>
                    <a:pt x="7" y="27"/>
                  </a:cubicBezTo>
                  <a:cubicBezTo>
                    <a:pt x="10" y="23"/>
                    <a:pt x="12" y="20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7">
              <a:extLst>
                <a:ext uri="{FF2B5EF4-FFF2-40B4-BE49-F238E27FC236}">
                  <a16:creationId xmlns:a16="http://schemas.microsoft.com/office/drawing/2014/main" id="{6D098ECA-6EA7-4DA5-A447-53BD9B414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3988" y="1185863"/>
              <a:ext cx="92075" cy="198438"/>
            </a:xfrm>
            <a:custGeom>
              <a:avLst/>
              <a:gdLst>
                <a:gd name="T0" fmla="*/ 2 w 15"/>
                <a:gd name="T1" fmla="*/ 19 h 32"/>
                <a:gd name="T2" fmla="*/ 8 w 15"/>
                <a:gd name="T3" fmla="*/ 32 h 32"/>
                <a:gd name="T4" fmla="*/ 15 w 15"/>
                <a:gd name="T5" fmla="*/ 17 h 32"/>
                <a:gd name="T6" fmla="*/ 15 w 15"/>
                <a:gd name="T7" fmla="*/ 17 h 32"/>
                <a:gd name="T8" fmla="*/ 14 w 15"/>
                <a:gd name="T9" fmla="*/ 14 h 32"/>
                <a:gd name="T10" fmla="*/ 4 w 15"/>
                <a:gd name="T11" fmla="*/ 0 h 32"/>
                <a:gd name="T12" fmla="*/ 3 w 15"/>
                <a:gd name="T13" fmla="*/ 5 h 32"/>
                <a:gd name="T14" fmla="*/ 2 w 15"/>
                <a:gd name="T15" fmla="*/ 7 h 32"/>
                <a:gd name="T16" fmla="*/ 2 w 15"/>
                <a:gd name="T17" fmla="*/ 7 h 32"/>
                <a:gd name="T18" fmla="*/ 2 w 15"/>
                <a:gd name="T19" fmla="*/ 7 h 32"/>
                <a:gd name="T20" fmla="*/ 2 w 15"/>
                <a:gd name="T21" fmla="*/ 1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32">
                  <a:moveTo>
                    <a:pt x="2" y="19"/>
                  </a:moveTo>
                  <a:cubicBezTo>
                    <a:pt x="5" y="24"/>
                    <a:pt x="6" y="27"/>
                    <a:pt x="8" y="32"/>
                  </a:cubicBezTo>
                  <a:cubicBezTo>
                    <a:pt x="8" y="32"/>
                    <a:pt x="14" y="23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6"/>
                    <a:pt x="15" y="15"/>
                    <a:pt x="14" y="14"/>
                  </a:cubicBezTo>
                  <a:cubicBezTo>
                    <a:pt x="11" y="8"/>
                    <a:pt x="8" y="4"/>
                    <a:pt x="4" y="0"/>
                  </a:cubicBezTo>
                  <a:cubicBezTo>
                    <a:pt x="4" y="0"/>
                    <a:pt x="3" y="2"/>
                    <a:pt x="3" y="5"/>
                  </a:cubicBezTo>
                  <a:cubicBezTo>
                    <a:pt x="2" y="6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11"/>
                    <a:pt x="0" y="16"/>
                    <a:pt x="2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28">
              <a:extLst>
                <a:ext uri="{FF2B5EF4-FFF2-40B4-BE49-F238E27FC236}">
                  <a16:creationId xmlns:a16="http://schemas.microsoft.com/office/drawing/2014/main" id="{8F02A39B-F422-430C-866C-90779B9D09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3563" y="1446213"/>
              <a:ext cx="395288" cy="398463"/>
            </a:xfrm>
            <a:custGeom>
              <a:avLst/>
              <a:gdLst>
                <a:gd name="T0" fmla="*/ 54 w 64"/>
                <a:gd name="T1" fmla="*/ 64 h 64"/>
                <a:gd name="T2" fmla="*/ 51 w 64"/>
                <a:gd name="T3" fmla="*/ 24 h 64"/>
                <a:gd name="T4" fmla="*/ 51 w 64"/>
                <a:gd name="T5" fmla="*/ 13 h 64"/>
                <a:gd name="T6" fmla="*/ 48 w 64"/>
                <a:gd name="T7" fmla="*/ 24 h 64"/>
                <a:gd name="T8" fmla="*/ 36 w 64"/>
                <a:gd name="T9" fmla="*/ 64 h 64"/>
                <a:gd name="T10" fmla="*/ 27 w 64"/>
                <a:gd name="T11" fmla="*/ 64 h 64"/>
                <a:gd name="T12" fmla="*/ 16 w 64"/>
                <a:gd name="T13" fmla="*/ 25 h 64"/>
                <a:gd name="T14" fmla="*/ 14 w 64"/>
                <a:gd name="T15" fmla="*/ 13 h 64"/>
                <a:gd name="T16" fmla="*/ 13 w 64"/>
                <a:gd name="T17" fmla="*/ 25 h 64"/>
                <a:gd name="T18" fmla="*/ 10 w 64"/>
                <a:gd name="T19" fmla="*/ 64 h 64"/>
                <a:gd name="T20" fmla="*/ 0 w 64"/>
                <a:gd name="T21" fmla="*/ 64 h 64"/>
                <a:gd name="T22" fmla="*/ 6 w 64"/>
                <a:gd name="T23" fmla="*/ 0 h 64"/>
                <a:gd name="T24" fmla="*/ 20 w 64"/>
                <a:gd name="T25" fmla="*/ 0 h 64"/>
                <a:gd name="T26" fmla="*/ 30 w 64"/>
                <a:gd name="T27" fmla="*/ 36 h 64"/>
                <a:gd name="T28" fmla="*/ 32 w 64"/>
                <a:gd name="T29" fmla="*/ 47 h 64"/>
                <a:gd name="T30" fmla="*/ 34 w 64"/>
                <a:gd name="T31" fmla="*/ 37 h 64"/>
                <a:gd name="T32" fmla="*/ 45 w 64"/>
                <a:gd name="T33" fmla="*/ 0 h 64"/>
                <a:gd name="T34" fmla="*/ 59 w 64"/>
                <a:gd name="T35" fmla="*/ 0 h 64"/>
                <a:gd name="T36" fmla="*/ 64 w 64"/>
                <a:gd name="T37" fmla="*/ 64 h 64"/>
                <a:gd name="T38" fmla="*/ 54 w 64"/>
                <a:gd name="T39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4" h="64">
                  <a:moveTo>
                    <a:pt x="54" y="64"/>
                  </a:moveTo>
                  <a:cubicBezTo>
                    <a:pt x="51" y="24"/>
                    <a:pt x="51" y="24"/>
                    <a:pt x="51" y="24"/>
                  </a:cubicBezTo>
                  <a:cubicBezTo>
                    <a:pt x="51" y="20"/>
                    <a:pt x="51" y="15"/>
                    <a:pt x="51" y="13"/>
                  </a:cubicBezTo>
                  <a:cubicBezTo>
                    <a:pt x="50" y="15"/>
                    <a:pt x="49" y="19"/>
                    <a:pt x="48" y="2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5" y="21"/>
                    <a:pt x="14" y="15"/>
                    <a:pt x="14" y="13"/>
                  </a:cubicBezTo>
                  <a:cubicBezTo>
                    <a:pt x="14" y="15"/>
                    <a:pt x="13" y="21"/>
                    <a:pt x="13" y="25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1" y="42"/>
                    <a:pt x="32" y="45"/>
                    <a:pt x="32" y="47"/>
                  </a:cubicBezTo>
                  <a:cubicBezTo>
                    <a:pt x="32" y="45"/>
                    <a:pt x="33" y="41"/>
                    <a:pt x="34" y="37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4" y="64"/>
                    <a:pt x="64" y="64"/>
                    <a:pt x="64" y="64"/>
                  </a:cubicBezTo>
                  <a:lnTo>
                    <a:pt x="54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29">
              <a:extLst>
                <a:ext uri="{FF2B5EF4-FFF2-40B4-BE49-F238E27FC236}">
                  <a16:creationId xmlns:a16="http://schemas.microsoft.com/office/drawing/2014/main" id="{99DF5E73-9623-4970-9B99-BC00353846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4413" y="1446213"/>
              <a:ext cx="273050" cy="398463"/>
            </a:xfrm>
            <a:custGeom>
              <a:avLst/>
              <a:gdLst>
                <a:gd name="T0" fmla="*/ 31 w 44"/>
                <a:gd name="T1" fmla="*/ 64 h 64"/>
                <a:gd name="T2" fmla="*/ 26 w 44"/>
                <a:gd name="T3" fmla="*/ 54 h 64"/>
                <a:gd name="T4" fmla="*/ 15 w 44"/>
                <a:gd name="T5" fmla="*/ 38 h 64"/>
                <a:gd name="T6" fmla="*/ 10 w 44"/>
                <a:gd name="T7" fmla="*/ 36 h 64"/>
                <a:gd name="T8" fmla="*/ 10 w 44"/>
                <a:gd name="T9" fmla="*/ 64 h 64"/>
                <a:gd name="T10" fmla="*/ 0 w 44"/>
                <a:gd name="T11" fmla="*/ 64 h 64"/>
                <a:gd name="T12" fmla="*/ 0 w 44"/>
                <a:gd name="T13" fmla="*/ 0 h 64"/>
                <a:gd name="T14" fmla="*/ 20 w 44"/>
                <a:gd name="T15" fmla="*/ 0 h 64"/>
                <a:gd name="T16" fmla="*/ 41 w 44"/>
                <a:gd name="T17" fmla="*/ 18 h 64"/>
                <a:gd name="T18" fmla="*/ 25 w 44"/>
                <a:gd name="T19" fmla="*/ 36 h 64"/>
                <a:gd name="T20" fmla="*/ 35 w 44"/>
                <a:gd name="T21" fmla="*/ 49 h 64"/>
                <a:gd name="T22" fmla="*/ 44 w 44"/>
                <a:gd name="T23" fmla="*/ 64 h 64"/>
                <a:gd name="T24" fmla="*/ 31 w 44"/>
                <a:gd name="T25" fmla="*/ 64 h 64"/>
                <a:gd name="T26" fmla="*/ 16 w 44"/>
                <a:gd name="T27" fmla="*/ 9 h 64"/>
                <a:gd name="T28" fmla="*/ 10 w 44"/>
                <a:gd name="T29" fmla="*/ 9 h 64"/>
                <a:gd name="T30" fmla="*/ 10 w 44"/>
                <a:gd name="T31" fmla="*/ 29 h 64"/>
                <a:gd name="T32" fmla="*/ 16 w 44"/>
                <a:gd name="T33" fmla="*/ 29 h 64"/>
                <a:gd name="T34" fmla="*/ 26 w 44"/>
                <a:gd name="T35" fmla="*/ 26 h 64"/>
                <a:gd name="T36" fmla="*/ 29 w 44"/>
                <a:gd name="T37" fmla="*/ 18 h 64"/>
                <a:gd name="T38" fmla="*/ 16 w 44"/>
                <a:gd name="T39" fmla="*/ 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4" h="64">
                  <a:moveTo>
                    <a:pt x="31" y="64"/>
                  </a:moveTo>
                  <a:cubicBezTo>
                    <a:pt x="26" y="54"/>
                    <a:pt x="26" y="54"/>
                    <a:pt x="26" y="54"/>
                  </a:cubicBezTo>
                  <a:cubicBezTo>
                    <a:pt x="21" y="46"/>
                    <a:pt x="18" y="42"/>
                    <a:pt x="15" y="38"/>
                  </a:cubicBezTo>
                  <a:cubicBezTo>
                    <a:pt x="13" y="37"/>
                    <a:pt x="13" y="37"/>
                    <a:pt x="10" y="36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34" y="0"/>
                    <a:pt x="41" y="8"/>
                    <a:pt x="41" y="18"/>
                  </a:cubicBezTo>
                  <a:cubicBezTo>
                    <a:pt x="41" y="28"/>
                    <a:pt x="35" y="36"/>
                    <a:pt x="25" y="36"/>
                  </a:cubicBezTo>
                  <a:cubicBezTo>
                    <a:pt x="27" y="37"/>
                    <a:pt x="31" y="43"/>
                    <a:pt x="35" y="49"/>
                  </a:cubicBezTo>
                  <a:cubicBezTo>
                    <a:pt x="44" y="64"/>
                    <a:pt x="44" y="64"/>
                    <a:pt x="44" y="64"/>
                  </a:cubicBezTo>
                  <a:lnTo>
                    <a:pt x="31" y="64"/>
                  </a:lnTo>
                  <a:close/>
                  <a:moveTo>
                    <a:pt x="16" y="9"/>
                  </a:moveTo>
                  <a:cubicBezTo>
                    <a:pt x="10" y="9"/>
                    <a:pt x="10" y="9"/>
                    <a:pt x="10" y="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22" y="29"/>
                    <a:pt x="25" y="28"/>
                    <a:pt x="26" y="26"/>
                  </a:cubicBezTo>
                  <a:cubicBezTo>
                    <a:pt x="28" y="24"/>
                    <a:pt x="29" y="22"/>
                    <a:pt x="29" y="18"/>
                  </a:cubicBezTo>
                  <a:cubicBezTo>
                    <a:pt x="29" y="12"/>
                    <a:pt x="26" y="9"/>
                    <a:pt x="16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30">
              <a:extLst>
                <a:ext uri="{FF2B5EF4-FFF2-40B4-BE49-F238E27FC236}">
                  <a16:creationId xmlns:a16="http://schemas.microsoft.com/office/drawing/2014/main" id="{EB4BF844-4AD9-407B-965E-DAD4F3F5C9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163" y="1881188"/>
              <a:ext cx="1276350" cy="465138"/>
            </a:xfrm>
            <a:custGeom>
              <a:avLst/>
              <a:gdLst>
                <a:gd name="T0" fmla="*/ 175 w 206"/>
                <a:gd name="T1" fmla="*/ 0 h 75"/>
                <a:gd name="T2" fmla="*/ 91 w 206"/>
                <a:gd name="T3" fmla="*/ 42 h 75"/>
                <a:gd name="T4" fmla="*/ 13 w 206"/>
                <a:gd name="T5" fmla="*/ 15 h 75"/>
                <a:gd name="T6" fmla="*/ 7 w 206"/>
                <a:gd name="T7" fmla="*/ 26 h 75"/>
                <a:gd name="T8" fmla="*/ 15 w 206"/>
                <a:gd name="T9" fmla="*/ 34 h 75"/>
                <a:gd name="T10" fmla="*/ 24 w 206"/>
                <a:gd name="T11" fmla="*/ 34 h 75"/>
                <a:gd name="T12" fmla="*/ 28 w 206"/>
                <a:gd name="T13" fmla="*/ 38 h 75"/>
                <a:gd name="T14" fmla="*/ 27 w 206"/>
                <a:gd name="T15" fmla="*/ 48 h 75"/>
                <a:gd name="T16" fmla="*/ 38 w 206"/>
                <a:gd name="T17" fmla="*/ 54 h 75"/>
                <a:gd name="T18" fmla="*/ 46 w 206"/>
                <a:gd name="T19" fmla="*/ 52 h 75"/>
                <a:gd name="T20" fmla="*/ 52 w 206"/>
                <a:gd name="T21" fmla="*/ 57 h 75"/>
                <a:gd name="T22" fmla="*/ 52 w 206"/>
                <a:gd name="T23" fmla="*/ 63 h 75"/>
                <a:gd name="T24" fmla="*/ 63 w 206"/>
                <a:gd name="T25" fmla="*/ 69 h 75"/>
                <a:gd name="T26" fmla="*/ 71 w 206"/>
                <a:gd name="T27" fmla="*/ 63 h 75"/>
                <a:gd name="T28" fmla="*/ 81 w 206"/>
                <a:gd name="T29" fmla="*/ 72 h 75"/>
                <a:gd name="T30" fmla="*/ 94 w 206"/>
                <a:gd name="T31" fmla="*/ 74 h 75"/>
                <a:gd name="T32" fmla="*/ 97 w 206"/>
                <a:gd name="T33" fmla="*/ 69 h 75"/>
                <a:gd name="T34" fmla="*/ 98 w 206"/>
                <a:gd name="T35" fmla="*/ 69 h 75"/>
                <a:gd name="T36" fmla="*/ 98 w 206"/>
                <a:gd name="T37" fmla="*/ 68 h 75"/>
                <a:gd name="T38" fmla="*/ 99 w 206"/>
                <a:gd name="T39" fmla="*/ 68 h 75"/>
                <a:gd name="T40" fmla="*/ 100 w 206"/>
                <a:gd name="T41" fmla="*/ 68 h 75"/>
                <a:gd name="T42" fmla="*/ 109 w 206"/>
                <a:gd name="T43" fmla="*/ 70 h 75"/>
                <a:gd name="T44" fmla="*/ 123 w 206"/>
                <a:gd name="T45" fmla="*/ 74 h 75"/>
                <a:gd name="T46" fmla="*/ 124 w 206"/>
                <a:gd name="T47" fmla="*/ 74 h 75"/>
                <a:gd name="T48" fmla="*/ 124 w 206"/>
                <a:gd name="T49" fmla="*/ 74 h 75"/>
                <a:gd name="T50" fmla="*/ 124 w 206"/>
                <a:gd name="T51" fmla="*/ 73 h 75"/>
                <a:gd name="T52" fmla="*/ 125 w 206"/>
                <a:gd name="T53" fmla="*/ 73 h 75"/>
                <a:gd name="T54" fmla="*/ 126 w 206"/>
                <a:gd name="T55" fmla="*/ 67 h 75"/>
                <a:gd name="T56" fmla="*/ 127 w 206"/>
                <a:gd name="T57" fmla="*/ 66 h 75"/>
                <a:gd name="T58" fmla="*/ 127 w 206"/>
                <a:gd name="T59" fmla="*/ 66 h 75"/>
                <a:gd name="T60" fmla="*/ 127 w 206"/>
                <a:gd name="T61" fmla="*/ 65 h 75"/>
                <a:gd name="T62" fmla="*/ 128 w 206"/>
                <a:gd name="T63" fmla="*/ 65 h 75"/>
                <a:gd name="T64" fmla="*/ 137 w 206"/>
                <a:gd name="T65" fmla="*/ 65 h 75"/>
                <a:gd name="T66" fmla="*/ 143 w 206"/>
                <a:gd name="T67" fmla="*/ 69 h 75"/>
                <a:gd name="T68" fmla="*/ 153 w 206"/>
                <a:gd name="T69" fmla="*/ 62 h 75"/>
                <a:gd name="T70" fmla="*/ 154 w 206"/>
                <a:gd name="T71" fmla="*/ 56 h 75"/>
                <a:gd name="T72" fmla="*/ 154 w 206"/>
                <a:gd name="T73" fmla="*/ 55 h 75"/>
                <a:gd name="T74" fmla="*/ 155 w 206"/>
                <a:gd name="T75" fmla="*/ 54 h 75"/>
                <a:gd name="T76" fmla="*/ 163 w 206"/>
                <a:gd name="T77" fmla="*/ 52 h 75"/>
                <a:gd name="T78" fmla="*/ 170 w 206"/>
                <a:gd name="T79" fmla="*/ 54 h 75"/>
                <a:gd name="T80" fmla="*/ 179 w 206"/>
                <a:gd name="T81" fmla="*/ 48 h 75"/>
                <a:gd name="T82" fmla="*/ 178 w 206"/>
                <a:gd name="T83" fmla="*/ 38 h 75"/>
                <a:gd name="T84" fmla="*/ 178 w 206"/>
                <a:gd name="T85" fmla="*/ 37 h 75"/>
                <a:gd name="T86" fmla="*/ 190 w 206"/>
                <a:gd name="T87" fmla="*/ 34 h 75"/>
                <a:gd name="T88" fmla="*/ 198 w 206"/>
                <a:gd name="T89" fmla="*/ 2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6" h="75">
                  <a:moveTo>
                    <a:pt x="204" y="13"/>
                  </a:moveTo>
                  <a:cubicBezTo>
                    <a:pt x="203" y="13"/>
                    <a:pt x="195" y="16"/>
                    <a:pt x="184" y="16"/>
                  </a:cubicBezTo>
                  <a:cubicBezTo>
                    <a:pt x="180" y="11"/>
                    <a:pt x="176" y="0"/>
                    <a:pt x="175" y="0"/>
                  </a:cubicBezTo>
                  <a:cubicBezTo>
                    <a:pt x="164" y="22"/>
                    <a:pt x="141" y="38"/>
                    <a:pt x="114" y="42"/>
                  </a:cubicBezTo>
                  <a:cubicBezTo>
                    <a:pt x="110" y="42"/>
                    <a:pt x="106" y="43"/>
                    <a:pt x="103" y="43"/>
                  </a:cubicBezTo>
                  <a:cubicBezTo>
                    <a:pt x="99" y="43"/>
                    <a:pt x="95" y="42"/>
                    <a:pt x="91" y="42"/>
                  </a:cubicBezTo>
                  <a:cubicBezTo>
                    <a:pt x="64" y="38"/>
                    <a:pt x="42" y="22"/>
                    <a:pt x="30" y="0"/>
                  </a:cubicBezTo>
                  <a:cubicBezTo>
                    <a:pt x="30" y="0"/>
                    <a:pt x="26" y="12"/>
                    <a:pt x="21" y="16"/>
                  </a:cubicBezTo>
                  <a:cubicBezTo>
                    <a:pt x="20" y="16"/>
                    <a:pt x="17" y="16"/>
                    <a:pt x="13" y="15"/>
                  </a:cubicBezTo>
                  <a:cubicBezTo>
                    <a:pt x="7" y="14"/>
                    <a:pt x="2" y="13"/>
                    <a:pt x="1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6"/>
                    <a:pt x="5" y="22"/>
                    <a:pt x="7" y="26"/>
                  </a:cubicBezTo>
                  <a:cubicBezTo>
                    <a:pt x="8" y="26"/>
                    <a:pt x="12" y="32"/>
                    <a:pt x="13" y="34"/>
                  </a:cubicBezTo>
                  <a:cubicBezTo>
                    <a:pt x="14" y="34"/>
                    <a:pt x="14" y="34"/>
                    <a:pt x="15" y="34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22" y="33"/>
                    <a:pt x="22" y="33"/>
                  </a:cubicBezTo>
                  <a:cubicBezTo>
                    <a:pt x="23" y="33"/>
                    <a:pt x="23" y="33"/>
                    <a:pt x="24" y="34"/>
                  </a:cubicBezTo>
                  <a:cubicBezTo>
                    <a:pt x="24" y="34"/>
                    <a:pt x="27" y="37"/>
                    <a:pt x="27" y="37"/>
                  </a:cubicBezTo>
                  <a:cubicBezTo>
                    <a:pt x="28" y="37"/>
                    <a:pt x="28" y="38"/>
                    <a:pt x="28" y="38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6" y="47"/>
                    <a:pt x="26" y="47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30" y="51"/>
                    <a:pt x="32" y="53"/>
                    <a:pt x="35" y="54"/>
                  </a:cubicBezTo>
                  <a:cubicBezTo>
                    <a:pt x="35" y="55"/>
                    <a:pt x="36" y="55"/>
                    <a:pt x="36" y="55"/>
                  </a:cubicBezTo>
                  <a:cubicBezTo>
                    <a:pt x="36" y="55"/>
                    <a:pt x="37" y="55"/>
                    <a:pt x="38" y="54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3" y="52"/>
                    <a:pt x="44" y="51"/>
                    <a:pt x="44" y="51"/>
                  </a:cubicBezTo>
                  <a:cubicBezTo>
                    <a:pt x="45" y="51"/>
                    <a:pt x="45" y="52"/>
                    <a:pt x="46" y="52"/>
                  </a:cubicBezTo>
                  <a:cubicBezTo>
                    <a:pt x="46" y="52"/>
                    <a:pt x="50" y="54"/>
                    <a:pt x="51" y="55"/>
                  </a:cubicBezTo>
                  <a:cubicBezTo>
                    <a:pt x="51" y="55"/>
                    <a:pt x="52" y="56"/>
                    <a:pt x="52" y="57"/>
                  </a:cubicBezTo>
                  <a:cubicBezTo>
                    <a:pt x="52" y="57"/>
                    <a:pt x="52" y="57"/>
                    <a:pt x="52" y="57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4"/>
                    <a:pt x="52" y="64"/>
                    <a:pt x="53" y="65"/>
                  </a:cubicBezTo>
                  <a:cubicBezTo>
                    <a:pt x="55" y="66"/>
                    <a:pt x="61" y="69"/>
                    <a:pt x="62" y="69"/>
                  </a:cubicBezTo>
                  <a:cubicBezTo>
                    <a:pt x="62" y="69"/>
                    <a:pt x="63" y="69"/>
                    <a:pt x="63" y="69"/>
                  </a:cubicBezTo>
                  <a:cubicBezTo>
                    <a:pt x="63" y="69"/>
                    <a:pt x="64" y="69"/>
                    <a:pt x="65" y="68"/>
                  </a:cubicBezTo>
                  <a:cubicBezTo>
                    <a:pt x="69" y="65"/>
                    <a:pt x="69" y="65"/>
                    <a:pt x="69" y="65"/>
                  </a:cubicBezTo>
                  <a:cubicBezTo>
                    <a:pt x="69" y="64"/>
                    <a:pt x="70" y="63"/>
                    <a:pt x="71" y="63"/>
                  </a:cubicBezTo>
                  <a:cubicBezTo>
                    <a:pt x="72" y="63"/>
                    <a:pt x="77" y="65"/>
                    <a:pt x="77" y="65"/>
                  </a:cubicBezTo>
                  <a:cubicBezTo>
                    <a:pt x="78" y="65"/>
                    <a:pt x="79" y="66"/>
                    <a:pt x="79" y="67"/>
                  </a:cubicBezTo>
                  <a:cubicBezTo>
                    <a:pt x="81" y="72"/>
                    <a:pt x="81" y="72"/>
                    <a:pt x="81" y="72"/>
                  </a:cubicBezTo>
                  <a:cubicBezTo>
                    <a:pt x="81" y="74"/>
                    <a:pt x="82" y="74"/>
                    <a:pt x="83" y="74"/>
                  </a:cubicBezTo>
                  <a:cubicBezTo>
                    <a:pt x="83" y="74"/>
                    <a:pt x="91" y="75"/>
                    <a:pt x="92" y="75"/>
                  </a:cubicBezTo>
                  <a:cubicBezTo>
                    <a:pt x="92" y="75"/>
                    <a:pt x="93" y="75"/>
                    <a:pt x="94" y="74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0"/>
                    <a:pt x="97" y="70"/>
                    <a:pt x="97" y="69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69"/>
                    <a:pt x="97" y="69"/>
                    <a:pt x="97" y="69"/>
                  </a:cubicBezTo>
                  <a:cubicBezTo>
                    <a:pt x="97" y="69"/>
                    <a:pt x="98" y="69"/>
                    <a:pt x="98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98" y="68"/>
                    <a:pt x="98" y="68"/>
                    <a:pt x="98" y="68"/>
                  </a:cubicBezTo>
                  <a:cubicBezTo>
                    <a:pt x="98" y="68"/>
                    <a:pt x="98" y="68"/>
                    <a:pt x="98" y="68"/>
                  </a:cubicBezTo>
                  <a:cubicBezTo>
                    <a:pt x="98" y="68"/>
                    <a:pt x="98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100" y="68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100" y="68"/>
                    <a:pt x="105" y="68"/>
                    <a:pt x="105" y="68"/>
                  </a:cubicBezTo>
                  <a:cubicBezTo>
                    <a:pt x="107" y="68"/>
                    <a:pt x="108" y="68"/>
                    <a:pt x="109" y="70"/>
                  </a:cubicBezTo>
                  <a:cubicBezTo>
                    <a:pt x="112" y="74"/>
                    <a:pt x="112" y="74"/>
                    <a:pt x="112" y="74"/>
                  </a:cubicBezTo>
                  <a:cubicBezTo>
                    <a:pt x="112" y="75"/>
                    <a:pt x="113" y="75"/>
                    <a:pt x="114" y="75"/>
                  </a:cubicBezTo>
                  <a:cubicBezTo>
                    <a:pt x="114" y="75"/>
                    <a:pt x="122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4" y="74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5" y="73"/>
                    <a:pt x="125" y="72"/>
                    <a:pt x="125" y="72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26" y="67"/>
                    <a:pt x="127" y="67"/>
                    <a:pt x="127" y="67"/>
                  </a:cubicBezTo>
                  <a:cubicBezTo>
                    <a:pt x="127" y="67"/>
                    <a:pt x="127" y="67"/>
                    <a:pt x="127" y="67"/>
                  </a:cubicBezTo>
                  <a:cubicBezTo>
                    <a:pt x="127" y="67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6"/>
                    <a:pt x="127" y="66"/>
                  </a:cubicBezTo>
                  <a:cubicBezTo>
                    <a:pt x="127" y="66"/>
                    <a:pt x="127" y="65"/>
                    <a:pt x="127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8" y="65"/>
                    <a:pt x="128" y="65"/>
                    <a:pt x="128" y="65"/>
                  </a:cubicBezTo>
                  <a:cubicBezTo>
                    <a:pt x="129" y="65"/>
                    <a:pt x="134" y="63"/>
                    <a:pt x="134" y="63"/>
                  </a:cubicBezTo>
                  <a:cubicBezTo>
                    <a:pt x="135" y="63"/>
                    <a:pt x="136" y="64"/>
                    <a:pt x="137" y="65"/>
                  </a:cubicBezTo>
                  <a:cubicBezTo>
                    <a:pt x="141" y="68"/>
                    <a:pt x="141" y="68"/>
                    <a:pt x="141" y="68"/>
                  </a:cubicBezTo>
                  <a:cubicBezTo>
                    <a:pt x="141" y="69"/>
                    <a:pt x="142" y="69"/>
                    <a:pt x="143" y="69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4" y="69"/>
                    <a:pt x="144" y="68"/>
                    <a:pt x="145" y="68"/>
                  </a:cubicBezTo>
                  <a:cubicBezTo>
                    <a:pt x="147" y="67"/>
                    <a:pt x="150" y="66"/>
                    <a:pt x="152" y="65"/>
                  </a:cubicBezTo>
                  <a:cubicBezTo>
                    <a:pt x="154" y="64"/>
                    <a:pt x="153" y="63"/>
                    <a:pt x="153" y="62"/>
                  </a:cubicBezTo>
                  <a:cubicBezTo>
                    <a:pt x="154" y="61"/>
                    <a:pt x="154" y="61"/>
                    <a:pt x="154" y="60"/>
                  </a:cubicBezTo>
                  <a:cubicBezTo>
                    <a:pt x="154" y="60"/>
                    <a:pt x="154" y="60"/>
                    <a:pt x="154" y="60"/>
                  </a:cubicBezTo>
                  <a:cubicBezTo>
                    <a:pt x="154" y="56"/>
                    <a:pt x="154" y="56"/>
                    <a:pt x="154" y="56"/>
                  </a:cubicBezTo>
                  <a:cubicBezTo>
                    <a:pt x="154" y="56"/>
                    <a:pt x="154" y="56"/>
                    <a:pt x="154" y="56"/>
                  </a:cubicBezTo>
                  <a:cubicBezTo>
                    <a:pt x="154" y="56"/>
                    <a:pt x="154" y="55"/>
                    <a:pt x="154" y="55"/>
                  </a:cubicBezTo>
                  <a:cubicBezTo>
                    <a:pt x="154" y="55"/>
                    <a:pt x="154" y="55"/>
                    <a:pt x="154" y="55"/>
                  </a:cubicBezTo>
                  <a:cubicBezTo>
                    <a:pt x="155" y="55"/>
                    <a:pt x="155" y="55"/>
                    <a:pt x="155" y="55"/>
                  </a:cubicBezTo>
                  <a:cubicBezTo>
                    <a:pt x="155" y="55"/>
                    <a:pt x="155" y="55"/>
                    <a:pt x="155" y="55"/>
                  </a:cubicBezTo>
                  <a:cubicBezTo>
                    <a:pt x="155" y="55"/>
                    <a:pt x="155" y="54"/>
                    <a:pt x="155" y="54"/>
                  </a:cubicBezTo>
                  <a:cubicBezTo>
                    <a:pt x="155" y="54"/>
                    <a:pt x="159" y="52"/>
                    <a:pt x="160" y="52"/>
                  </a:cubicBezTo>
                  <a:cubicBezTo>
                    <a:pt x="160" y="52"/>
                    <a:pt x="161" y="51"/>
                    <a:pt x="161" y="51"/>
                  </a:cubicBezTo>
                  <a:cubicBezTo>
                    <a:pt x="162" y="51"/>
                    <a:pt x="162" y="52"/>
                    <a:pt x="163" y="52"/>
                  </a:cubicBezTo>
                  <a:cubicBezTo>
                    <a:pt x="168" y="54"/>
                    <a:pt x="168" y="54"/>
                    <a:pt x="168" y="54"/>
                  </a:cubicBezTo>
                  <a:cubicBezTo>
                    <a:pt x="168" y="55"/>
                    <a:pt x="169" y="55"/>
                    <a:pt x="169" y="55"/>
                  </a:cubicBezTo>
                  <a:cubicBezTo>
                    <a:pt x="170" y="55"/>
                    <a:pt x="170" y="55"/>
                    <a:pt x="170" y="54"/>
                  </a:cubicBezTo>
                  <a:cubicBezTo>
                    <a:pt x="173" y="53"/>
                    <a:pt x="175" y="51"/>
                    <a:pt x="178" y="48"/>
                  </a:cubicBezTo>
                  <a:cubicBezTo>
                    <a:pt x="178" y="48"/>
                    <a:pt x="178" y="48"/>
                    <a:pt x="178" y="48"/>
                  </a:cubicBezTo>
                  <a:cubicBezTo>
                    <a:pt x="178" y="48"/>
                    <a:pt x="178" y="48"/>
                    <a:pt x="179" y="48"/>
                  </a:cubicBezTo>
                  <a:cubicBezTo>
                    <a:pt x="179" y="47"/>
                    <a:pt x="180" y="46"/>
                    <a:pt x="179" y="45"/>
                  </a:cubicBezTo>
                  <a:cubicBezTo>
                    <a:pt x="177" y="38"/>
                    <a:pt x="177" y="38"/>
                    <a:pt x="177" y="38"/>
                  </a:cubicBezTo>
                  <a:cubicBezTo>
                    <a:pt x="177" y="38"/>
                    <a:pt x="177" y="38"/>
                    <a:pt x="178" y="38"/>
                  </a:cubicBezTo>
                  <a:cubicBezTo>
                    <a:pt x="178" y="38"/>
                    <a:pt x="178" y="38"/>
                    <a:pt x="178" y="37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81" y="35"/>
                    <a:pt x="181" y="35"/>
                    <a:pt x="181" y="35"/>
                  </a:cubicBezTo>
                  <a:cubicBezTo>
                    <a:pt x="181" y="34"/>
                    <a:pt x="182" y="33"/>
                    <a:pt x="183" y="33"/>
                  </a:cubicBezTo>
                  <a:cubicBezTo>
                    <a:pt x="184" y="33"/>
                    <a:pt x="190" y="34"/>
                    <a:pt x="190" y="34"/>
                  </a:cubicBezTo>
                  <a:cubicBezTo>
                    <a:pt x="190" y="34"/>
                    <a:pt x="191" y="34"/>
                    <a:pt x="191" y="34"/>
                  </a:cubicBezTo>
                  <a:cubicBezTo>
                    <a:pt x="191" y="34"/>
                    <a:pt x="192" y="34"/>
                    <a:pt x="192" y="34"/>
                  </a:cubicBezTo>
                  <a:cubicBezTo>
                    <a:pt x="193" y="32"/>
                    <a:pt x="198" y="26"/>
                    <a:pt x="198" y="26"/>
                  </a:cubicBezTo>
                  <a:cubicBezTo>
                    <a:pt x="200" y="22"/>
                    <a:pt x="204" y="15"/>
                    <a:pt x="206" y="12"/>
                  </a:cubicBezTo>
                  <a:lnTo>
                    <a:pt x="20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346826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7" r:id="rId3"/>
    <p:sldLayoutId id="2147483656" r:id="rId4"/>
    <p:sldLayoutId id="2147483659" r:id="rId5"/>
    <p:sldLayoutId id="2147483660" r:id="rId6"/>
    <p:sldLayoutId id="2147483658" r:id="rId7"/>
    <p:sldLayoutId id="2147483661" r:id="rId8"/>
    <p:sldLayoutId id="2147483662" r:id="rId9"/>
    <p:sldLayoutId id="2147483663" r:id="rId10"/>
    <p:sldLayoutId id="2147483664" r:id="rId11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 cap="all" baseline="0">
          <a:solidFill>
            <a:schemeClr val="bg2"/>
          </a:solidFill>
          <a:latin typeface="DINPro-Black" panose="02000503030000020004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400" b="1" i="0" kern="1200">
          <a:solidFill>
            <a:schemeClr val="accent2"/>
          </a:solidFill>
          <a:latin typeface="DINPro-Black" panose="02000503030000020003" pitchFamily="2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DINPro-Regular" panose="02000503030000020003" pitchFamily="2" charset="0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DINPro-Regular" panose="02000503030000020003" pitchFamily="2" charset="0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&gt;"/>
        <a:defRPr sz="1800" kern="1200">
          <a:solidFill>
            <a:schemeClr val="tx1"/>
          </a:solidFill>
          <a:latin typeface="DINPro-Regular" panose="02000503030000020003" pitchFamily="2" charset="0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&gt;"/>
        <a:defRPr sz="1800" kern="1200">
          <a:solidFill>
            <a:schemeClr val="tx1"/>
          </a:solidFill>
          <a:latin typeface="DINPro-Regular" panose="02000503030000020003" pitchFamily="2" charset="0"/>
          <a:ea typeface="+mn-ea"/>
          <a:cs typeface="+mn-cs"/>
        </a:defRPr>
      </a:lvl5pPr>
      <a:lvl6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&gt;"/>
        <a:defRPr sz="1800" kern="1200">
          <a:solidFill>
            <a:schemeClr val="tx1"/>
          </a:solidFill>
          <a:latin typeface="DINPro-Regular" panose="02000503030000020003" pitchFamily="2" charset="0"/>
          <a:ea typeface="+mn-ea"/>
          <a:cs typeface="+mn-cs"/>
        </a:defRPr>
      </a:lvl6pPr>
      <a:lvl7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&gt;"/>
        <a:defRPr sz="1800" kern="1200">
          <a:solidFill>
            <a:schemeClr val="tx1"/>
          </a:solidFill>
          <a:latin typeface="DINPro-Regular" panose="02000503030000020003" pitchFamily="2" charset="0"/>
          <a:ea typeface="+mn-ea"/>
          <a:cs typeface="+mn-cs"/>
        </a:defRPr>
      </a:lvl7pPr>
      <a:lvl8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&gt;"/>
        <a:defRPr sz="1800" kern="1200">
          <a:solidFill>
            <a:schemeClr val="tx1"/>
          </a:solidFill>
          <a:latin typeface="DINPro-Regular" panose="02000503030000020003" pitchFamily="2" charset="0"/>
          <a:ea typeface="+mn-ea"/>
          <a:cs typeface="+mn-cs"/>
        </a:defRPr>
      </a:lvl8pPr>
      <a:lvl9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&gt;"/>
        <a:defRPr sz="1800" kern="1200">
          <a:solidFill>
            <a:schemeClr val="tx1"/>
          </a:solidFill>
          <a:latin typeface="DINPro-Regular" panose="02000503030000020003" pitchFamily="2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3589" userDrawn="1">
          <p15:clr>
            <a:srgbClr val="F26B43"/>
          </p15:clr>
        </p15:guide>
        <p15:guide id="5" orient="horz" pos="3974" userDrawn="1">
          <p15:clr>
            <a:srgbClr val="F26B43"/>
          </p15:clr>
        </p15:guide>
        <p15:guide id="6" orient="horz" pos="981" userDrawn="1">
          <p15:clr>
            <a:srgbClr val="F26B43"/>
          </p15:clr>
        </p15:guide>
        <p15:guide id="7" orient="horz" pos="36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wmf"/><Relationship Id="rId3" Type="http://schemas.openxmlformats.org/officeDocument/2006/relationships/tags" Target="../tags/tag3.xml"/><Relationship Id="rId7" Type="http://schemas.openxmlformats.org/officeDocument/2006/relationships/image" Target="../media/image7.w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9.w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DBD95DD-1157-4353-971C-D283B92B60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3833" y="3105388"/>
            <a:ext cx="9455067" cy="1538883"/>
          </a:xfrm>
        </p:spPr>
        <p:txBody>
          <a:bodyPr/>
          <a:lstStyle/>
          <a:p>
            <a:r>
              <a:rPr lang="ru-RU" dirty="0">
                <a:latin typeface="DINPro-Black" panose="02000503030000020003" pitchFamily="2" charset="0"/>
                <a:ea typeface="DINPro-Black" charset="0"/>
                <a:cs typeface="DINPro-Black" charset="0"/>
              </a:rPr>
              <a:t>Машинные ринги в Германии:</a:t>
            </a:r>
            <a:br>
              <a:rPr lang="ru-RU" dirty="0">
                <a:latin typeface="DINPro-Black" panose="02000503030000020003" pitchFamily="2" charset="0"/>
                <a:ea typeface="DINPro-Black" charset="0"/>
                <a:cs typeface="DINPro-Black" charset="0"/>
              </a:rPr>
            </a:br>
            <a:r>
              <a:rPr lang="ru-RU" sz="2800" dirty="0">
                <a:latin typeface="DINPro-Black" panose="02000503030000020003" pitchFamily="2" charset="0"/>
                <a:ea typeface="DINPro-Black" charset="0"/>
                <a:cs typeface="DINPro-Black" charset="0"/>
              </a:rPr>
              <a:t>Сообщества по совместному использованию сельхозтехники</a:t>
            </a:r>
            <a:endParaRPr lang="de-DE" dirty="0">
              <a:latin typeface="DINPro-Black" panose="02000503030000020003" pitchFamily="2" charset="0"/>
              <a:ea typeface="DINPro-Black" charset="0"/>
              <a:cs typeface="DINPro-Black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AB1F647-4EDF-470A-A217-73097779B9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3833" y="4702630"/>
            <a:ext cx="9244264" cy="817542"/>
          </a:xfrm>
        </p:spPr>
        <p:txBody>
          <a:bodyPr/>
          <a:lstStyle/>
          <a:p>
            <a:r>
              <a:rPr lang="ru-RU" b="0" dirty="0">
                <a:solidFill>
                  <a:schemeClr val="bg1"/>
                </a:solidFill>
                <a:latin typeface="DINPro-Regular" panose="02000503030000020003" pitchFamily="2" charset="0"/>
                <a:ea typeface="DINPro-Regular" charset="0"/>
                <a:cs typeface="DINPro-Regular" charset="0"/>
              </a:rPr>
              <a:t>Мы трудимся на благо самой важной на свете профессии</a:t>
            </a:r>
            <a:endParaRPr lang="de-DE" b="0" dirty="0">
              <a:solidFill>
                <a:schemeClr val="bg1"/>
              </a:solidFill>
              <a:latin typeface="DINPro-Regular" panose="02000503030000020003" pitchFamily="2" charset="0"/>
              <a:ea typeface="DINPro-Regular" charset="0"/>
              <a:cs typeface="DINPro-Regular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554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FE9443F-2B62-44C3-9AFF-0AD31ACB4E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6123" y="1573201"/>
            <a:ext cx="11027400" cy="4266000"/>
          </a:xfrm>
        </p:spPr>
        <p:txBody>
          <a:bodyPr/>
          <a:lstStyle/>
          <a:p>
            <a:r>
              <a:rPr lang="de-DE" sz="2800" dirty="0">
                <a:solidFill>
                  <a:srgbClr val="65B32E"/>
                </a:solidFill>
                <a:latin typeface="DINPro-Black" panose="02000503030000020004" pitchFamily="2" charset="0"/>
              </a:rPr>
              <a:t>&gt;&gt; </a:t>
            </a:r>
            <a:r>
              <a:rPr lang="ru-RU" sz="2800" b="0" dirty="0" err="1">
                <a:solidFill>
                  <a:srgbClr val="414140"/>
                </a:solidFill>
                <a:latin typeface="DINPro-Black" panose="02000503030000020004" pitchFamily="2" charset="0"/>
              </a:rPr>
              <a:t>Майнхольд</a:t>
            </a:r>
            <a:r>
              <a:rPr lang="de-DE" sz="2800" b="0" dirty="0">
                <a:solidFill>
                  <a:srgbClr val="414140"/>
                </a:solidFill>
                <a:latin typeface="DINPro-Black" panose="02000503030000020004" pitchFamily="2" charset="0"/>
              </a:rPr>
              <a:t>: </a:t>
            </a:r>
            <a:r>
              <a:rPr lang="ru-RU" sz="2800" b="0" dirty="0">
                <a:solidFill>
                  <a:srgbClr val="414140"/>
                </a:solidFill>
                <a:latin typeface="DINPro-Black" panose="02000503030000020004" pitchFamily="2" charset="0"/>
              </a:rPr>
              <a:t>расти или уступать дорогу более сильным</a:t>
            </a:r>
            <a:endParaRPr lang="de-DE" sz="2800" b="0" dirty="0">
              <a:solidFill>
                <a:srgbClr val="414140"/>
              </a:solidFill>
              <a:latin typeface="DINPro-Black" panose="02000503030000020004" pitchFamily="2" charset="0"/>
            </a:endParaRPr>
          </a:p>
          <a:p>
            <a:r>
              <a:rPr lang="ru-RU" sz="2800" dirty="0">
                <a:solidFill>
                  <a:srgbClr val="65B32E"/>
                </a:solidFill>
                <a:latin typeface="DINPro-Black" panose="02000503030000020004" pitchFamily="2" charset="0"/>
              </a:rPr>
              <a:t>Д-р Эрих Гайерсбергер</a:t>
            </a:r>
            <a:endParaRPr lang="de-DE" sz="2800" dirty="0">
              <a:solidFill>
                <a:srgbClr val="65B32E"/>
              </a:solidFill>
              <a:latin typeface="DINPro-Black" panose="02000503030000020004" pitchFamily="2" charset="0"/>
            </a:endParaRPr>
          </a:p>
          <a:p>
            <a:r>
              <a:rPr lang="de-DE" sz="1800" b="0" dirty="0">
                <a:solidFill>
                  <a:srgbClr val="414140"/>
                </a:solidFill>
                <a:latin typeface="DINPro-Regular" panose="02000503030000020003" pitchFamily="2" charset="0"/>
              </a:rPr>
              <a:t>	</a:t>
            </a: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- 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одинаковые издержки на единицу продукции для всех предприятий</a:t>
            </a:r>
            <a:endParaRPr lang="de-DE" sz="2000" b="0" dirty="0">
              <a:solidFill>
                <a:srgbClr val="414140"/>
              </a:solidFill>
              <a:latin typeface="DINPro-Regular" panose="02000503030000020003" pitchFamily="2" charset="0"/>
            </a:endParaRPr>
          </a:p>
          <a:p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	- 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дополнительный заработок: техника и рабочая сила</a:t>
            </a:r>
            <a:b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</a:b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	</a:t>
            </a:r>
            <a:b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</a:b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	</a:t>
            </a:r>
            <a:r>
              <a:rPr lang="ru-RU" sz="2000" b="0" dirty="0">
                <a:solidFill>
                  <a:srgbClr val="65B32E"/>
                </a:solidFill>
                <a:latin typeface="DINPro-Black" panose="02000503030000020004" pitchFamily="2" charset="0"/>
              </a:rPr>
              <a:t>Первоначально только в сельском хозяйстве, позже и за его пределами</a:t>
            </a:r>
            <a:endParaRPr lang="de-DE" sz="2000" b="0" dirty="0">
              <a:solidFill>
                <a:srgbClr val="65B32E"/>
              </a:solidFill>
              <a:latin typeface="DINPro-Black" panose="02000503030000020004" pitchFamily="2" charset="0"/>
            </a:endParaRPr>
          </a:p>
          <a:p>
            <a:endParaRPr lang="de-DE" sz="1800" dirty="0"/>
          </a:p>
          <a:p>
            <a:endParaRPr lang="de-DE" sz="1800" b="0" dirty="0">
              <a:solidFill>
                <a:srgbClr val="414140"/>
              </a:solidFill>
              <a:latin typeface="DINPro-Regular" panose="02000503030000020003" pitchFamily="2" charset="0"/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5"/>
          </p:nvPr>
        </p:nvSpPr>
        <p:spPr>
          <a:xfrm>
            <a:off x="952668" y="6444188"/>
            <a:ext cx="634789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8BCD4F-BD4F-4BE2-8B9E-34FFB4825014}" type="datetime1">
              <a:rPr lang="de-DE" smtClean="0"/>
              <a:pPr/>
              <a:t>24.06.2021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>
          <a:xfrm>
            <a:off x="1802616" y="6444188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Maschinenring | EB</a:t>
            </a:r>
            <a:endParaRPr lang="de-DE" dirty="0">
              <a:latin typeface="DINPro-Regular" charset="0"/>
              <a:ea typeface="DINPro-Regular" charset="0"/>
              <a:cs typeface="DINPro-Regular" charset="0"/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7"/>
          </p:nvPr>
        </p:nvSpPr>
        <p:spPr>
          <a:xfrm>
            <a:off x="479425" y="6444188"/>
            <a:ext cx="258084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36B8E5-3A52-4A78-81A8-094081A03A6D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Titel 3">
            <a:extLst>
              <a:ext uri="{FF2B5EF4-FFF2-40B4-BE49-F238E27FC236}">
                <a16:creationId xmlns:a16="http://schemas.microsoft.com/office/drawing/2014/main" id="{30DBCD57-31A6-F84A-8345-0D9008AD6D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65125"/>
            <a:ext cx="11233150" cy="430887"/>
          </a:xfrm>
        </p:spPr>
        <p:txBody>
          <a:bodyPr/>
          <a:lstStyle/>
          <a:p>
            <a:r>
              <a:rPr lang="ru-RU" dirty="0"/>
              <a:t>ОБСУЖДЕНИЕ СИСТЕМ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E42C23D-2E7A-0845-B0E1-88AE2288CA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7417" y="814000"/>
            <a:ext cx="11233150" cy="36933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7942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D3C070CD-1F0B-6147-8D73-33AF7E45C3C2}"/>
              </a:ext>
            </a:extLst>
          </p:cNvPr>
          <p:cNvSpPr txBox="1">
            <a:spLocks/>
          </p:cNvSpPr>
          <p:nvPr/>
        </p:nvSpPr>
        <p:spPr>
          <a:xfrm>
            <a:off x="740227" y="123458"/>
            <a:ext cx="10287001" cy="113928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ts val="3080"/>
              </a:lnSpc>
            </a:pPr>
            <a:r>
              <a:rPr lang="ru-RU" sz="2400" dirty="0">
                <a:solidFill>
                  <a:srgbClr val="414140"/>
                </a:solidFill>
                <a:latin typeface="DINPro-Black" panose="02000503030000020004" pitchFamily="2" charset="0"/>
              </a:rPr>
              <a:t>Эрвин</a:t>
            </a:r>
            <a:r>
              <a:rPr lang="de-DE" sz="2400" dirty="0">
                <a:solidFill>
                  <a:srgbClr val="414140"/>
                </a:solidFill>
                <a:latin typeface="DINPro-Black" panose="02000503030000020004" pitchFamily="2" charset="0"/>
              </a:rPr>
              <a:t> </a:t>
            </a:r>
            <a:r>
              <a:rPr lang="ru-RU" sz="2400" dirty="0" err="1">
                <a:solidFill>
                  <a:srgbClr val="414140"/>
                </a:solidFill>
                <a:latin typeface="DINPro-Black" panose="02000503030000020004" pitchFamily="2" charset="0"/>
              </a:rPr>
              <a:t>Баллис</a:t>
            </a:r>
            <a:br>
              <a:rPr lang="de-DE" sz="2400" b="1" dirty="0">
                <a:solidFill>
                  <a:schemeClr val="bg1"/>
                </a:solidFill>
              </a:rPr>
            </a:br>
            <a:r>
              <a:rPr lang="de-DE" sz="2400" b="1" dirty="0">
                <a:solidFill>
                  <a:srgbClr val="65B32E"/>
                </a:solidFill>
                <a:latin typeface="DINPro-Black" panose="02000503030000020004" pitchFamily="2" charset="0"/>
              </a:rPr>
              <a:t>Maschinenringe Deutschland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4C2B13D-6064-414D-AD8A-48FC6937F4E8}"/>
              </a:ext>
            </a:extLst>
          </p:cNvPr>
          <p:cNvSpPr txBox="1">
            <a:spLocks/>
          </p:cNvSpPr>
          <p:nvPr/>
        </p:nvSpPr>
        <p:spPr>
          <a:xfrm>
            <a:off x="419878" y="2062312"/>
            <a:ext cx="7679093" cy="23876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4280"/>
              </a:lnSpc>
            </a:pPr>
            <a:r>
              <a:rPr lang="ru-RU" sz="3200" b="0" dirty="0">
                <a:solidFill>
                  <a:srgbClr val="65B32E"/>
                </a:solidFill>
                <a:latin typeface="DINPro-Black" panose="02000503030000020004" pitchFamily="2" charset="0"/>
              </a:rPr>
              <a:t>Каждый сельхозпроизводитель </a:t>
            </a:r>
            <a:br>
              <a:rPr lang="ru-RU" sz="3200" b="0" dirty="0">
                <a:solidFill>
                  <a:srgbClr val="65B32E"/>
                </a:solidFill>
                <a:latin typeface="DINPro-Black" panose="02000503030000020004" pitchFamily="2" charset="0"/>
              </a:rPr>
            </a:br>
            <a:r>
              <a:rPr lang="ru-RU" sz="3200" b="0" dirty="0">
                <a:solidFill>
                  <a:srgbClr val="65B32E"/>
                </a:solidFill>
                <a:latin typeface="DINPro-Black" panose="02000503030000020004" pitchFamily="2" charset="0"/>
              </a:rPr>
              <a:t>должен иметь возможность </a:t>
            </a:r>
            <a:br>
              <a:rPr lang="ru-RU" sz="3200" b="0" dirty="0">
                <a:solidFill>
                  <a:srgbClr val="65B32E"/>
                </a:solidFill>
                <a:latin typeface="DINPro-Black" panose="02000503030000020004" pitchFamily="2" charset="0"/>
              </a:rPr>
            </a:br>
            <a:r>
              <a:rPr lang="ru-RU" sz="3200" b="0" dirty="0">
                <a:solidFill>
                  <a:srgbClr val="65B32E"/>
                </a:solidFill>
                <a:latin typeface="DINPro-Black" panose="02000503030000020004" pitchFamily="2" charset="0"/>
              </a:rPr>
              <a:t>пользоваться плодами </a:t>
            </a:r>
            <a:br>
              <a:rPr lang="ru-RU" sz="3200" b="0" dirty="0">
                <a:solidFill>
                  <a:srgbClr val="65B32E"/>
                </a:solidFill>
                <a:latin typeface="DINPro-Black" panose="02000503030000020004" pitchFamily="2" charset="0"/>
              </a:rPr>
            </a:br>
            <a:r>
              <a:rPr lang="ru-RU" sz="3200" b="0" dirty="0">
                <a:solidFill>
                  <a:srgbClr val="65B32E"/>
                </a:solidFill>
                <a:latin typeface="DINPro-Black" panose="02000503030000020004" pitchFamily="2" charset="0"/>
              </a:rPr>
              <a:t>технического прогресса.</a:t>
            </a:r>
            <a:endParaRPr lang="de-DE" sz="3200" b="0" dirty="0">
              <a:solidFill>
                <a:srgbClr val="65B32E"/>
              </a:solidFill>
              <a:latin typeface="DINPro-Black" panose="02000503030000020004" pitchFamily="2" charset="0"/>
            </a:endParaRPr>
          </a:p>
        </p:txBody>
      </p:sp>
      <p:pic>
        <p:nvPicPr>
          <p:cNvPr id="9" name="Grafik 8" descr="Ein Bild, das Text, Person, haltend, Hand enthält.&#10;&#10;Automatisch generierte Beschreibung">
            <a:extLst>
              <a:ext uri="{FF2B5EF4-FFF2-40B4-BE49-F238E27FC236}">
                <a16:creationId xmlns:a16="http://schemas.microsoft.com/office/drawing/2014/main" id="{D4E0351A-3DE7-B545-AD15-3EE9656EC0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3727" y="0"/>
            <a:ext cx="11842758" cy="7895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0903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FE9443F-2B62-44C3-9AFF-0AD31ACB4E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800" y="1573201"/>
            <a:ext cx="11027400" cy="4266000"/>
          </a:xfrm>
        </p:spPr>
        <p:txBody>
          <a:bodyPr/>
          <a:lstStyle/>
          <a:p>
            <a:r>
              <a:rPr lang="de-DE" dirty="0">
                <a:solidFill>
                  <a:srgbClr val="65B32E"/>
                </a:solidFill>
                <a:latin typeface="DINPro-Black" panose="02000503030000020004" pitchFamily="2" charset="0"/>
              </a:rPr>
              <a:t>&gt;&gt; </a:t>
            </a:r>
            <a:r>
              <a:rPr lang="ru-RU" b="0" dirty="0">
                <a:solidFill>
                  <a:srgbClr val="414140"/>
                </a:solidFill>
                <a:latin typeface="DINPro-Black" panose="02000503030000020004" pitchFamily="2" charset="0"/>
              </a:rPr>
              <a:t>Товарищество (</a:t>
            </a:r>
            <a:r>
              <a:rPr lang="en-US" b="0" dirty="0">
                <a:solidFill>
                  <a:srgbClr val="414140"/>
                </a:solidFill>
                <a:latin typeface="DINPro-Black" panose="02000503030000020004" pitchFamily="2" charset="0"/>
              </a:rPr>
              <a:t>M</a:t>
            </a:r>
            <a:r>
              <a:rPr lang="de-DE" b="0" dirty="0" err="1">
                <a:solidFill>
                  <a:srgbClr val="414140"/>
                </a:solidFill>
                <a:latin typeface="DINPro-Black" panose="02000503030000020004" pitchFamily="2" charset="0"/>
              </a:rPr>
              <a:t>aschinenring</a:t>
            </a:r>
            <a:r>
              <a:rPr lang="de-DE" b="0" dirty="0">
                <a:solidFill>
                  <a:srgbClr val="414140"/>
                </a:solidFill>
                <a:latin typeface="DINPro-Black" panose="02000503030000020004" pitchFamily="2" charset="0"/>
              </a:rPr>
              <a:t>) </a:t>
            </a:r>
            <a:r>
              <a:rPr lang="ru-RU" b="0" dirty="0">
                <a:solidFill>
                  <a:srgbClr val="414140"/>
                </a:solidFill>
                <a:latin typeface="DINPro-Black" panose="02000503030000020004" pitchFamily="2" charset="0"/>
              </a:rPr>
              <a:t>само не владеет техникой</a:t>
            </a:r>
            <a:endParaRPr lang="de-DE" b="0" dirty="0">
              <a:solidFill>
                <a:srgbClr val="414140"/>
              </a:solidFill>
              <a:latin typeface="DINPro-Black" panose="02000503030000020004" pitchFamily="2" charset="0"/>
            </a:endParaRPr>
          </a:p>
          <a:p>
            <a:r>
              <a:rPr lang="de-DE" dirty="0">
                <a:solidFill>
                  <a:srgbClr val="65B32E"/>
                </a:solidFill>
                <a:latin typeface="DINPro-Black" panose="02000503030000020004" pitchFamily="2" charset="0"/>
              </a:rPr>
              <a:t>&gt;&gt; </a:t>
            </a:r>
            <a:r>
              <a:rPr lang="ru-RU" b="0" dirty="0">
                <a:solidFill>
                  <a:srgbClr val="414140"/>
                </a:solidFill>
                <a:latin typeface="DINPro-Black" panose="02000503030000020004" pitchFamily="2" charset="0"/>
              </a:rPr>
              <a:t>Владельцем техники является сельхозпроизводитель</a:t>
            </a:r>
            <a:endParaRPr lang="de-DE" b="0" dirty="0">
              <a:solidFill>
                <a:srgbClr val="65B32E"/>
              </a:solidFill>
              <a:latin typeface="DINPro-Black" panose="02000503030000020004" pitchFamily="2" charset="0"/>
            </a:endParaRPr>
          </a:p>
          <a:p>
            <a:r>
              <a:rPr lang="de-DE" sz="1800" b="0" dirty="0">
                <a:solidFill>
                  <a:srgbClr val="414140"/>
                </a:solidFill>
                <a:latin typeface="DINPro-Regular" panose="02000503030000020003" pitchFamily="2" charset="0"/>
              </a:rPr>
              <a:t>	- </a:t>
            </a:r>
            <a:r>
              <a:rPr lang="ru-RU" sz="1800" b="0" dirty="0">
                <a:solidFill>
                  <a:srgbClr val="414140"/>
                </a:solidFill>
                <a:latin typeface="DINPro-Regular" panose="02000503030000020003" pitchFamily="2" charset="0"/>
              </a:rPr>
              <a:t>Укрепление предпринимательства</a:t>
            </a:r>
            <a:endParaRPr lang="de-DE" sz="1800" b="0" dirty="0">
              <a:solidFill>
                <a:srgbClr val="414140"/>
              </a:solidFill>
              <a:latin typeface="DINPro-Regular" panose="02000503030000020003" pitchFamily="2" charset="0"/>
            </a:endParaRPr>
          </a:p>
          <a:p>
            <a:r>
              <a:rPr lang="de-DE" sz="1800" b="0" dirty="0">
                <a:solidFill>
                  <a:srgbClr val="414140"/>
                </a:solidFill>
                <a:latin typeface="DINPro-Regular" panose="02000503030000020003" pitchFamily="2" charset="0"/>
              </a:rPr>
              <a:t>	- </a:t>
            </a:r>
            <a:r>
              <a:rPr lang="ru-RU" sz="1800" b="0" dirty="0">
                <a:solidFill>
                  <a:srgbClr val="414140"/>
                </a:solidFill>
                <a:latin typeface="DINPro-Regular" panose="02000503030000020003" pitchFamily="2" charset="0"/>
              </a:rPr>
              <a:t>Независимый фермер </a:t>
            </a:r>
            <a:r>
              <a:rPr lang="en-US" sz="1800" b="0" dirty="0">
                <a:solidFill>
                  <a:srgbClr val="414140"/>
                </a:solidFill>
                <a:latin typeface="DINPro-Regular" panose="02000503030000020003" pitchFamily="2" charset="0"/>
              </a:rPr>
              <a:t>(</a:t>
            </a:r>
            <a:r>
              <a:rPr lang="en-US" sz="1800" b="0" dirty="0" err="1">
                <a:solidFill>
                  <a:srgbClr val="414140"/>
                </a:solidFill>
                <a:latin typeface="DINPro-Regular" panose="02000503030000020003" pitchFamily="2" charset="0"/>
              </a:rPr>
              <a:t>Freier</a:t>
            </a:r>
            <a:r>
              <a:rPr lang="en-US" sz="1800" b="0" dirty="0">
                <a:solidFill>
                  <a:srgbClr val="414140"/>
                </a:solidFill>
                <a:latin typeface="DINPro-Regular" panose="02000503030000020003" pitchFamily="2" charset="0"/>
              </a:rPr>
              <a:t> Bauer)</a:t>
            </a:r>
            <a:endParaRPr lang="de-DE" sz="1800" b="0" dirty="0">
              <a:solidFill>
                <a:srgbClr val="414140"/>
              </a:solidFill>
              <a:latin typeface="DINPro-Regular" panose="02000503030000020003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>
                <a:ln>
                  <a:noFill/>
                </a:ln>
                <a:solidFill>
                  <a:srgbClr val="65B32E"/>
                </a:solidFill>
                <a:effectLst/>
                <a:uLnTx/>
                <a:uFillTx/>
                <a:latin typeface="DINPro-Black" panose="02000503030000020004" pitchFamily="2" charset="0"/>
              </a:rPr>
              <a:t>&gt;&gt; </a:t>
            </a: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rgbClr val="414140"/>
                </a:solidFill>
                <a:effectLst/>
                <a:uLnTx/>
                <a:uFillTx/>
                <a:latin typeface="DINPro-Black" panose="02000503030000020004" pitchFamily="2" charset="0"/>
              </a:rPr>
              <a:t>Maschinenring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414140"/>
                </a:solidFill>
                <a:effectLst/>
                <a:uLnTx/>
                <a:uFillTx/>
                <a:latin typeface="DINPro-Black" panose="02000503030000020004" pitchFamily="2" charset="0"/>
              </a:rPr>
              <a:t> -</a:t>
            </a:r>
            <a:r>
              <a:rPr kumimoji="0" lang="de-DE" b="0" i="0" u="none" strike="noStrike" kern="1200" cap="none" spc="0" normalizeH="0" baseline="0" noProof="0" dirty="0">
                <a:ln>
                  <a:noFill/>
                </a:ln>
                <a:solidFill>
                  <a:srgbClr val="414140"/>
                </a:solidFill>
                <a:effectLst/>
                <a:uLnTx/>
                <a:uFillTx/>
                <a:latin typeface="DINPro-Black" panose="02000503030000020004" pitchFamily="2" charset="0"/>
              </a:rPr>
              <a:t> 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414140"/>
                </a:solidFill>
                <a:effectLst/>
                <a:uLnTx/>
                <a:uFillTx/>
                <a:latin typeface="DINPro-Black" panose="02000503030000020004" pitchFamily="2" charset="0"/>
              </a:rPr>
              <a:t>посредническое агентство</a:t>
            </a:r>
            <a:r>
              <a:rPr lang="de-DE" b="0" dirty="0">
                <a:solidFill>
                  <a:srgbClr val="65B32E"/>
                </a:solidFill>
                <a:latin typeface="DINPro-Black" panose="02000503030000020004" pitchFamily="2" charset="0"/>
              </a:rPr>
              <a:t> </a:t>
            </a:r>
            <a:br>
              <a:rPr lang="ru-RU" b="0" dirty="0">
                <a:solidFill>
                  <a:srgbClr val="65B32E"/>
                </a:solidFill>
                <a:latin typeface="DINPro-Black" panose="02000503030000020004" pitchFamily="2" charset="0"/>
              </a:rPr>
            </a:br>
            <a:r>
              <a:rPr lang="ru-RU" b="0" dirty="0">
                <a:solidFill>
                  <a:srgbClr val="65B32E"/>
                </a:solidFill>
                <a:latin typeface="DINPro-Black" panose="02000503030000020004" pitchFamily="2" charset="0"/>
              </a:rPr>
              <a:t>      </a:t>
            </a:r>
            <a:r>
              <a:rPr lang="de-DE" b="0" dirty="0">
                <a:solidFill>
                  <a:srgbClr val="65B32E"/>
                </a:solidFill>
                <a:latin typeface="DINPro-Black" panose="02000503030000020004" pitchFamily="2" charset="0"/>
                <a:sym typeface="Wingdings" panose="05000000000000000000" pitchFamily="2" charset="2"/>
              </a:rPr>
              <a:t> </a:t>
            </a:r>
            <a:r>
              <a:rPr lang="ru-RU" b="0" dirty="0">
                <a:solidFill>
                  <a:srgbClr val="414140"/>
                </a:solidFill>
                <a:latin typeface="DINPro-Black" panose="02000503030000020004" pitchFamily="2" charset="0"/>
              </a:rPr>
              <a:t>аграрные менеджеры</a:t>
            </a:r>
            <a:endParaRPr lang="de-DE" b="0" dirty="0">
              <a:solidFill>
                <a:srgbClr val="414140"/>
              </a:solidFill>
              <a:latin typeface="DINPro-Black" panose="02000503030000020004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14140"/>
                </a:solidFill>
                <a:effectLst/>
                <a:uLnTx/>
                <a:uFillTx/>
                <a:latin typeface="DINPro-Regular" panose="02000503030000020003" pitchFamily="2" charset="0"/>
                <a:ea typeface="+mn-ea"/>
                <a:cs typeface="+mn-cs"/>
              </a:rPr>
              <a:t>	-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14140"/>
                </a:solidFill>
                <a:effectLst/>
                <a:uLnTx/>
                <a:uFillTx/>
                <a:latin typeface="DINPro-Regular" panose="02000503030000020003" pitchFamily="2" charset="0"/>
                <a:ea typeface="+mn-ea"/>
                <a:cs typeface="+mn-cs"/>
              </a:rPr>
              <a:t>основные задачи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14140"/>
                </a:solidFill>
                <a:effectLst/>
                <a:uLnTx/>
                <a:uFillTx/>
                <a:latin typeface="DINPro-Regular" panose="02000503030000020003" pitchFamily="2" charset="0"/>
                <a:ea typeface="+mn-ea"/>
                <a:cs typeface="+mn-cs"/>
              </a:rPr>
              <a:t>: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14140"/>
                </a:solidFill>
                <a:effectLst/>
                <a:uLnTx/>
                <a:uFillTx/>
                <a:latin typeface="DINPro-Regular" panose="02000503030000020003" pitchFamily="2" charset="0"/>
                <a:ea typeface="+mn-ea"/>
                <a:cs typeface="+mn-cs"/>
              </a:rPr>
              <a:t>содействие в получении техники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414140"/>
                </a:solidFill>
                <a:effectLst/>
                <a:uLnTx/>
                <a:uFillTx/>
                <a:latin typeface="DINPro-Regular" panose="02000503030000020003" pitchFamily="2" charset="0"/>
                <a:ea typeface="+mn-ea"/>
                <a:cs typeface="+mn-cs"/>
              </a:rPr>
              <a:t>,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14140"/>
                </a:solidFill>
                <a:effectLst/>
                <a:uLnTx/>
                <a:uFillTx/>
                <a:latin typeface="DINPro-Regular" panose="02000503030000020003" pitchFamily="2" charset="0"/>
                <a:ea typeface="+mn-ea"/>
                <a:cs typeface="+mn-cs"/>
              </a:rPr>
              <a:t>финансовая отчетность по услуге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414140"/>
              </a:solidFill>
              <a:effectLst/>
              <a:uLnTx/>
              <a:uFillTx/>
              <a:latin typeface="DINPro-Regular" panose="02000503030000020003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8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anose="05000000000000000000" pitchFamily="2" charset="2"/>
              </a:rPr>
              <a:t>	 </a:t>
            </a:r>
            <a:r>
              <a:rPr lang="ru-RU" sz="18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anose="05000000000000000000" pitchFamily="2" charset="2"/>
              </a:rPr>
              <a:t>нейтральность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414140"/>
              </a:solidFill>
              <a:effectLst/>
              <a:uLnTx/>
              <a:uFillTx/>
              <a:latin typeface="DINPro-Regular" panose="02000503030000020003" pitchFamily="2" charset="0"/>
              <a:ea typeface="+mn-ea"/>
              <a:cs typeface="+mn-cs"/>
            </a:endParaRPr>
          </a:p>
          <a:p>
            <a:endParaRPr lang="de-DE" sz="1800" b="0" dirty="0">
              <a:solidFill>
                <a:srgbClr val="414140"/>
              </a:solidFill>
              <a:latin typeface="DINPro-Regular" panose="02000503030000020003" pitchFamily="2" charset="0"/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5"/>
          </p:nvPr>
        </p:nvSpPr>
        <p:spPr>
          <a:xfrm>
            <a:off x="952668" y="6444188"/>
            <a:ext cx="634789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8BCD4F-BD4F-4BE2-8B9E-34FFB4825014}" type="datetime1">
              <a:rPr lang="de-DE" smtClean="0"/>
              <a:pPr/>
              <a:t>24.06.2021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>
          <a:xfrm>
            <a:off x="1802616" y="6444188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Maschinenring | EB</a:t>
            </a:r>
            <a:endParaRPr lang="de-DE" dirty="0">
              <a:latin typeface="DINPro-Regular" charset="0"/>
              <a:ea typeface="DINPro-Regular" charset="0"/>
              <a:cs typeface="DINPro-Regular" charset="0"/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7"/>
          </p:nvPr>
        </p:nvSpPr>
        <p:spPr>
          <a:xfrm>
            <a:off x="479425" y="6444188"/>
            <a:ext cx="258084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36B8E5-3A52-4A78-81A8-094081A03A6D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Titel 3">
            <a:extLst>
              <a:ext uri="{FF2B5EF4-FFF2-40B4-BE49-F238E27FC236}">
                <a16:creationId xmlns:a16="http://schemas.microsoft.com/office/drawing/2014/main" id="{30DBCD57-31A6-F84A-8345-0D9008AD6D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65125"/>
            <a:ext cx="11233150" cy="430887"/>
          </a:xfrm>
        </p:spPr>
        <p:txBody>
          <a:bodyPr/>
          <a:lstStyle/>
          <a:p>
            <a:r>
              <a:rPr lang="ru-RU" dirty="0"/>
              <a:t>КАК это работает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E42C23D-2E7A-0845-B0E1-88AE2288CA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1613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FE9443F-2B62-44C3-9AFF-0AD31ACB4E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800" y="1573201"/>
            <a:ext cx="11027400" cy="1169999"/>
          </a:xfrm>
        </p:spPr>
        <p:txBody>
          <a:bodyPr/>
          <a:lstStyle/>
          <a:p>
            <a:r>
              <a:rPr lang="de-DE" dirty="0">
                <a:solidFill>
                  <a:srgbClr val="65B32E"/>
                </a:solidFill>
                <a:latin typeface="DINPro-Regular" panose="02000503030000020003" pitchFamily="2" charset="0"/>
              </a:rPr>
              <a:t>A)</a:t>
            </a:r>
            <a:r>
              <a:rPr lang="de-DE" dirty="0">
                <a:latin typeface="DINPro-Regular" panose="02000503030000020003" pitchFamily="2" charset="0"/>
              </a:rPr>
              <a:t> </a:t>
            </a:r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</a:rPr>
              <a:t>сельхозпроизводитель владеет техникой</a:t>
            </a:r>
            <a:endParaRPr lang="de-DE" b="0" dirty="0">
              <a:solidFill>
                <a:srgbClr val="414140"/>
              </a:solidFill>
              <a:latin typeface="DINPro-Regular" panose="02000503030000020003" pitchFamily="2" charset="0"/>
            </a:endParaRPr>
          </a:p>
          <a:p>
            <a:r>
              <a:rPr lang="de-DE" dirty="0">
                <a:solidFill>
                  <a:srgbClr val="65B32E"/>
                </a:solidFill>
                <a:latin typeface="DINPro-Regular" panose="02000503030000020003" pitchFamily="2" charset="0"/>
              </a:rPr>
              <a:t>B)</a:t>
            </a:r>
            <a:r>
              <a:rPr lang="de-DE" dirty="0">
                <a:latin typeface="DINPro-Regular" panose="02000503030000020003" pitchFamily="2" charset="0"/>
              </a:rPr>
              <a:t> </a:t>
            </a:r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</a:rPr>
              <a:t>сельхозпроизводитель не владеет </a:t>
            </a:r>
            <a:b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</a:rPr>
            </a:br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</a:rPr>
              <a:t>    некоторыми видами техники</a:t>
            </a:r>
            <a:br>
              <a:rPr lang="de-DE" sz="2800" b="0" dirty="0">
                <a:solidFill>
                  <a:srgbClr val="414140"/>
                </a:solidFill>
                <a:latin typeface="DINPro-Regular" panose="02000503030000020003" pitchFamily="2" charset="0"/>
              </a:rPr>
            </a:br>
            <a:br>
              <a:rPr lang="de-DE" sz="1800" b="0" dirty="0">
                <a:solidFill>
                  <a:srgbClr val="414140"/>
                </a:solidFill>
                <a:latin typeface="+mj-lt"/>
              </a:rPr>
            </a:br>
            <a:r>
              <a:rPr lang="ru-RU" sz="2000" b="0" dirty="0">
                <a:solidFill>
                  <a:srgbClr val="65B32E"/>
                </a:solidFill>
                <a:latin typeface="DINPro-Black" panose="02000503030000020004" pitchFamily="2" charset="0"/>
              </a:rPr>
              <a:t>Сельхозпроизводитель обращается в офис товарищества, и ему помогают</a:t>
            </a:r>
            <a:br>
              <a:rPr lang="ru-RU" sz="2000" b="0" dirty="0">
                <a:solidFill>
                  <a:srgbClr val="65B32E"/>
                </a:solidFill>
                <a:latin typeface="DINPro-Black" panose="02000503030000020004" pitchFamily="2" charset="0"/>
              </a:rPr>
            </a:br>
            <a:r>
              <a:rPr lang="ru-RU" sz="2000" b="0" dirty="0">
                <a:solidFill>
                  <a:srgbClr val="65B32E"/>
                </a:solidFill>
                <a:latin typeface="DINPro-Black" panose="02000503030000020004" pitchFamily="2" charset="0"/>
              </a:rPr>
              <a:t>получить нужную технику или установить нужный контакт:</a:t>
            </a:r>
            <a:endParaRPr lang="de-DE" sz="2000" b="0" dirty="0">
              <a:solidFill>
                <a:srgbClr val="65B32E"/>
              </a:solidFill>
              <a:latin typeface="DINPro-Black" panose="02000503030000020004" pitchFamily="2" charset="0"/>
            </a:endParaRPr>
          </a:p>
          <a:p>
            <a:endParaRPr lang="de-DE" sz="1800" b="0" dirty="0">
              <a:solidFill>
                <a:srgbClr val="414140"/>
              </a:solidFill>
              <a:latin typeface="DINPro-Regular" panose="02000503030000020003" pitchFamily="2" charset="0"/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5"/>
          </p:nvPr>
        </p:nvSpPr>
        <p:spPr>
          <a:xfrm>
            <a:off x="952668" y="6444188"/>
            <a:ext cx="634789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8BCD4F-BD4F-4BE2-8B9E-34FFB4825014}" type="datetime1">
              <a:rPr lang="de-DE" smtClean="0"/>
              <a:pPr/>
              <a:t>24.06.2021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>
          <a:xfrm>
            <a:off x="1802616" y="6444188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Maschinenring | EB</a:t>
            </a:r>
            <a:endParaRPr lang="de-DE" dirty="0">
              <a:latin typeface="DINPro-Regular" charset="0"/>
              <a:ea typeface="DINPro-Regular" charset="0"/>
              <a:cs typeface="DINPro-Regular" charset="0"/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7"/>
          </p:nvPr>
        </p:nvSpPr>
        <p:spPr>
          <a:xfrm>
            <a:off x="479425" y="6444188"/>
            <a:ext cx="258084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36B8E5-3A52-4A78-81A8-094081A03A6D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7" name="Titel 3">
            <a:extLst>
              <a:ext uri="{FF2B5EF4-FFF2-40B4-BE49-F238E27FC236}">
                <a16:creationId xmlns:a16="http://schemas.microsoft.com/office/drawing/2014/main" id="{30DBCD57-31A6-F84A-8345-0D9008AD6D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65125"/>
            <a:ext cx="11233150" cy="430887"/>
          </a:xfrm>
        </p:spPr>
        <p:txBody>
          <a:bodyPr/>
          <a:lstStyle/>
          <a:p>
            <a:r>
              <a:rPr lang="ru-RU" dirty="0"/>
              <a:t>КАК это работает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E42C23D-2E7A-0845-B0E1-88AE2288CA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73978522-91D6-9143-91A8-1F7FB9C72648}"/>
              </a:ext>
            </a:extLst>
          </p:cNvPr>
          <p:cNvSpPr txBox="1">
            <a:spLocks/>
          </p:cNvSpPr>
          <p:nvPr/>
        </p:nvSpPr>
        <p:spPr>
          <a:xfrm>
            <a:off x="1442386" y="3939914"/>
            <a:ext cx="5226261" cy="20829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i="0" kern="1200">
                <a:solidFill>
                  <a:schemeClr val="accent2"/>
                </a:solidFill>
                <a:latin typeface="DINPro-Black" panose="02000503030000020003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6pPr>
            <a:lvl7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rgbClr val="65B32E"/>
                </a:solidFill>
                <a:latin typeface="DINPro-Black" panose="02000503030000020004" pitchFamily="2" charset="0"/>
              </a:rPr>
              <a:t>ПРЕИМУЩЕСТВО №</a:t>
            </a:r>
            <a:r>
              <a:rPr lang="ru-RU" sz="2800" dirty="0">
                <a:solidFill>
                  <a:srgbClr val="65B32E"/>
                </a:solidFill>
                <a:latin typeface="DINPro-Black" panose="02000503030000020004" pitchFamily="2" charset="0"/>
              </a:rPr>
              <a:t>1</a:t>
            </a:r>
            <a:r>
              <a:rPr lang="de-DE" dirty="0">
                <a:solidFill>
                  <a:srgbClr val="65B32E"/>
                </a:solidFill>
                <a:latin typeface="DINPro-Black" panose="02000503030000020004" pitchFamily="2" charset="0"/>
              </a:rPr>
              <a:t>:</a:t>
            </a:r>
          </a:p>
          <a:p>
            <a:r>
              <a:rPr lang="de-DE" sz="1800" dirty="0">
                <a:solidFill>
                  <a:srgbClr val="65B32E"/>
                </a:solidFill>
                <a:latin typeface="DINPro-Regular" panose="02000503030000020003" pitchFamily="2" charset="0"/>
              </a:rPr>
              <a:t>B) </a:t>
            </a:r>
            <a:r>
              <a:rPr lang="ru-RU" sz="1800" b="0" dirty="0">
                <a:solidFill>
                  <a:srgbClr val="414140"/>
                </a:solidFill>
                <a:latin typeface="DINPro-Regular" panose="02000503030000020003" pitchFamily="2" charset="0"/>
              </a:rPr>
              <a:t>может выгодно производить</a:t>
            </a:r>
            <a:br>
              <a:rPr lang="de-DE" sz="18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</a:br>
            <a:br>
              <a:rPr lang="de-DE" sz="18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</a:br>
            <a:r>
              <a:rPr lang="de-DE" sz="1800" dirty="0">
                <a:solidFill>
                  <a:srgbClr val="65B32E"/>
                </a:solidFill>
                <a:latin typeface="DINPro-Regular" panose="02000503030000020003" pitchFamily="2" charset="0"/>
              </a:rPr>
              <a:t>B) </a:t>
            </a:r>
            <a:r>
              <a:rPr lang="ru-RU" sz="1800" b="0" dirty="0">
                <a:solidFill>
                  <a:srgbClr val="414140"/>
                </a:solidFill>
                <a:latin typeface="DINPro-Regular" panose="02000503030000020003" pitchFamily="2" charset="0"/>
              </a:rPr>
              <a:t>имеет свободную рабочую силу</a:t>
            </a:r>
            <a:r>
              <a:rPr lang="de-DE" sz="1800" b="0" dirty="0">
                <a:solidFill>
                  <a:srgbClr val="414140"/>
                </a:solidFill>
                <a:latin typeface="DINPro-Regular" panose="02000503030000020003" pitchFamily="2" charset="0"/>
              </a:rPr>
              <a:t> 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D0204EE9-8125-5046-BB1A-9FED51F2004B}"/>
              </a:ext>
            </a:extLst>
          </p:cNvPr>
          <p:cNvSpPr txBox="1">
            <a:spLocks/>
          </p:cNvSpPr>
          <p:nvPr/>
        </p:nvSpPr>
        <p:spPr>
          <a:xfrm>
            <a:off x="5523353" y="3939915"/>
            <a:ext cx="5226261" cy="20829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i="0" kern="1200">
                <a:solidFill>
                  <a:schemeClr val="accent2"/>
                </a:solidFill>
                <a:latin typeface="DINPro-Black" panose="02000503030000020003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6pPr>
            <a:lvl7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rgbClr val="65B32E"/>
                </a:solidFill>
                <a:latin typeface="DINPro-Black" panose="02000503030000020004" pitchFamily="2" charset="0"/>
              </a:rPr>
              <a:t>ПРЕИМУЩЕСТВО</a:t>
            </a:r>
            <a:r>
              <a:rPr lang="de-DE" dirty="0">
                <a:solidFill>
                  <a:srgbClr val="65B32E"/>
                </a:solidFill>
                <a:latin typeface="DINPro-Black" panose="02000503030000020004" pitchFamily="2" charset="0"/>
              </a:rPr>
              <a:t> </a:t>
            </a:r>
            <a:r>
              <a:rPr lang="ru-RU" dirty="0">
                <a:solidFill>
                  <a:srgbClr val="65B32E"/>
                </a:solidFill>
                <a:latin typeface="DINPro-Black" panose="02000503030000020004" pitchFamily="2" charset="0"/>
              </a:rPr>
              <a:t>№</a:t>
            </a:r>
            <a:r>
              <a:rPr lang="ru-RU" sz="2800" dirty="0">
                <a:solidFill>
                  <a:srgbClr val="65B32E"/>
                </a:solidFill>
                <a:latin typeface="DINPro-Black" panose="02000503030000020004" pitchFamily="2" charset="0"/>
              </a:rPr>
              <a:t>2</a:t>
            </a:r>
            <a:r>
              <a:rPr lang="de-DE" sz="2800" dirty="0">
                <a:solidFill>
                  <a:srgbClr val="65B32E"/>
                </a:solidFill>
                <a:latin typeface="DINPro-Black" panose="02000503030000020004" pitchFamily="2" charset="0"/>
              </a:rPr>
              <a:t>:</a:t>
            </a:r>
          </a:p>
          <a:p>
            <a:r>
              <a:rPr lang="de-DE" sz="1800" dirty="0">
                <a:solidFill>
                  <a:srgbClr val="65B32E"/>
                </a:solidFill>
                <a:latin typeface="DINPro-Regular" panose="02000503030000020003" pitchFamily="2" charset="0"/>
              </a:rPr>
              <a:t>A) </a:t>
            </a:r>
            <a:r>
              <a:rPr lang="ru-RU" sz="1800" b="0" dirty="0">
                <a:solidFill>
                  <a:srgbClr val="414140"/>
                </a:solidFill>
                <a:latin typeface="DINPro-Regular" panose="02000503030000020003" pitchFamily="2" charset="0"/>
              </a:rPr>
              <a:t>лучше загружает технику</a:t>
            </a:r>
            <a:br>
              <a:rPr lang="de-DE" sz="1800" b="0" dirty="0">
                <a:solidFill>
                  <a:srgbClr val="414140"/>
                </a:solidFill>
                <a:latin typeface="DINPro-Regular" panose="02000503030000020003" pitchFamily="2" charset="0"/>
              </a:rPr>
            </a:br>
            <a:br>
              <a:rPr lang="de-DE" sz="1800" b="0" dirty="0">
                <a:solidFill>
                  <a:srgbClr val="414140"/>
                </a:solidFill>
                <a:latin typeface="DINPro-Regular" panose="02000503030000020003" pitchFamily="2" charset="0"/>
              </a:rPr>
            </a:br>
            <a:r>
              <a:rPr lang="de-DE" sz="1800" dirty="0">
                <a:solidFill>
                  <a:srgbClr val="65B32E"/>
                </a:solidFill>
                <a:latin typeface="DINPro-Regular" panose="02000503030000020003" pitchFamily="2" charset="0"/>
              </a:rPr>
              <a:t>A) </a:t>
            </a:r>
            <a:r>
              <a:rPr lang="ru-RU" sz="1800" dirty="0">
                <a:solidFill>
                  <a:srgbClr val="65B32E"/>
                </a:solidFill>
                <a:latin typeface="DINPro-Regular" panose="02000503030000020003" pitchFamily="2" charset="0"/>
              </a:rPr>
              <a:t> </a:t>
            </a:r>
            <a:r>
              <a:rPr lang="ru-RU" sz="1800" b="0" dirty="0">
                <a:solidFill>
                  <a:srgbClr val="414140"/>
                </a:solidFill>
                <a:latin typeface="DINPro-Regular" panose="02000503030000020003" pitchFamily="2" charset="0"/>
              </a:rPr>
              <a:t>получает дополнительный доход </a:t>
            </a:r>
            <a:br>
              <a:rPr lang="ru-RU" sz="1800" b="0" dirty="0">
                <a:solidFill>
                  <a:srgbClr val="414140"/>
                </a:solidFill>
                <a:latin typeface="DINPro-Regular" panose="02000503030000020003" pitchFamily="2" charset="0"/>
              </a:rPr>
            </a:br>
            <a:r>
              <a:rPr lang="ru-RU" sz="1800" b="0" dirty="0">
                <a:solidFill>
                  <a:srgbClr val="414140"/>
                </a:solidFill>
                <a:latin typeface="DINPro-Regular" panose="02000503030000020003" pitchFamily="2" charset="0"/>
              </a:rPr>
              <a:t>без каких-либо усилий</a:t>
            </a:r>
            <a:endParaRPr lang="de-DE" sz="1800" b="0" dirty="0">
              <a:solidFill>
                <a:srgbClr val="414140"/>
              </a:solidFill>
              <a:latin typeface="DINPro-Regular" panose="020005030300000200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0187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FFCB912-11AF-5A40-8988-5CB21FB97B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800" y="1573201"/>
            <a:ext cx="10941869" cy="4266000"/>
          </a:xfrm>
        </p:spPr>
        <p:txBody>
          <a:bodyPr/>
          <a:lstStyle/>
          <a:p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</a:rPr>
              <a:t>Машинные ринги предоставляют не только технику, но и персонал</a:t>
            </a:r>
            <a:r>
              <a:rPr lang="de-DE" b="0" dirty="0">
                <a:solidFill>
                  <a:srgbClr val="414140"/>
                </a:solidFill>
                <a:latin typeface="DINPro-Regular" panose="02000503030000020003" pitchFamily="2" charset="0"/>
              </a:rPr>
              <a:t> </a:t>
            </a:r>
            <a:r>
              <a:rPr lang="de-DE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anose="05000000000000000000" pitchFamily="2" charset="2"/>
              </a:rPr>
              <a:t></a:t>
            </a:r>
            <a:r>
              <a:rPr lang="de-DE" b="0" dirty="0">
                <a:solidFill>
                  <a:srgbClr val="414140"/>
                </a:solidFill>
                <a:latin typeface="DINPro-Regular" panose="02000503030000020003" pitchFamily="2" charset="0"/>
              </a:rPr>
              <a:t> </a:t>
            </a:r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</a:rPr>
              <a:t> для помощи хозяйствам, испытывающим трудности (</a:t>
            </a:r>
            <a:r>
              <a:rPr lang="de-DE" b="0" dirty="0">
                <a:solidFill>
                  <a:srgbClr val="414140"/>
                </a:solidFill>
                <a:latin typeface="DINPro-Regular" panose="02000503030000020003" pitchFamily="2" charset="0"/>
              </a:rPr>
              <a:t>„Betriebshilfe“</a:t>
            </a:r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</a:rPr>
              <a:t>):</a:t>
            </a:r>
            <a:endParaRPr lang="de-DE" b="0" dirty="0">
              <a:solidFill>
                <a:srgbClr val="414140"/>
              </a:solidFill>
              <a:latin typeface="DINPro-Regular" panose="02000503030000020003" pitchFamily="2" charset="0"/>
            </a:endParaRPr>
          </a:p>
          <a:p>
            <a:r>
              <a:rPr lang="de-DE" sz="1800" dirty="0">
                <a:solidFill>
                  <a:srgbClr val="65B32E"/>
                </a:solidFill>
              </a:rPr>
              <a:t>&gt;&gt; </a:t>
            </a:r>
            <a:r>
              <a:rPr lang="ru-RU" sz="18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в случае болезни работников</a:t>
            </a:r>
            <a:endParaRPr lang="de-DE" sz="1800" b="0" dirty="0">
              <a:solidFill>
                <a:srgbClr val="414140"/>
              </a:solidFill>
              <a:latin typeface="DINPro-Regular" panose="02000503030000020003" pitchFamily="2" charset="0"/>
              <a:sym typeface="Wingdings" pitchFamily="2" charset="2"/>
            </a:endParaRPr>
          </a:p>
          <a:p>
            <a:r>
              <a:rPr lang="de-DE" sz="1800" dirty="0">
                <a:solidFill>
                  <a:srgbClr val="65B32E"/>
                </a:solidFill>
              </a:rPr>
              <a:t>&gt;&gt; </a:t>
            </a:r>
            <a:r>
              <a:rPr lang="ru-RU" sz="1800" b="0" u="sng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или при потребности в дополнительных работниках</a:t>
            </a:r>
            <a:endParaRPr lang="de-DE" sz="2000" u="sng" dirty="0">
              <a:sym typeface="Wingdings" pitchFamily="2" charset="2"/>
            </a:endParaRPr>
          </a:p>
          <a:p>
            <a:r>
              <a:rPr lang="ru-RU" sz="2800" dirty="0">
                <a:solidFill>
                  <a:srgbClr val="65B32E"/>
                </a:solidFill>
                <a:latin typeface="DINPro-Black" panose="02000503030000020004" pitchFamily="2" charset="0"/>
                <a:sym typeface="Wingdings" panose="05000000000000000000" pitchFamily="2" charset="2"/>
              </a:rPr>
              <a:t>      </a:t>
            </a:r>
            <a:r>
              <a:rPr lang="de-DE" sz="2800" dirty="0">
                <a:solidFill>
                  <a:srgbClr val="65B32E"/>
                </a:solidFill>
                <a:latin typeface="DINPro-Black" panose="02000503030000020004" pitchFamily="2" charset="0"/>
                <a:sym typeface="Wingdings" panose="05000000000000000000" pitchFamily="2" charset="2"/>
              </a:rPr>
              <a:t> Maschinenring </a:t>
            </a:r>
            <a:r>
              <a:rPr lang="ru-RU" sz="2800" dirty="0">
                <a:solidFill>
                  <a:srgbClr val="65B32E"/>
                </a:solidFill>
                <a:latin typeface="DINPro-Black" panose="02000503030000020004" pitchFamily="2" charset="0"/>
                <a:sym typeface="Wingdings" panose="05000000000000000000" pitchFamily="2" charset="2"/>
              </a:rPr>
              <a:t> выступает посредником  и </a:t>
            </a:r>
            <a:br>
              <a:rPr lang="ru-RU" sz="2800" dirty="0">
                <a:solidFill>
                  <a:srgbClr val="65B32E"/>
                </a:solidFill>
                <a:latin typeface="DINPro-Black" panose="02000503030000020004" pitchFamily="2" charset="0"/>
                <a:sym typeface="Wingdings" panose="05000000000000000000" pitchFamily="2" charset="2"/>
              </a:rPr>
            </a:br>
            <a:r>
              <a:rPr lang="ru-RU" sz="2800" dirty="0">
                <a:solidFill>
                  <a:srgbClr val="65B32E"/>
                </a:solidFill>
                <a:latin typeface="DINPro-Black" panose="02000503030000020004" pitchFamily="2" charset="0"/>
                <a:sym typeface="Wingdings" panose="05000000000000000000" pitchFamily="2" charset="2"/>
              </a:rPr>
              <a:t>составляет финансовую отчетность по оказанным услугам</a:t>
            </a:r>
            <a:r>
              <a:rPr lang="de-DE" sz="2800" dirty="0">
                <a:solidFill>
                  <a:srgbClr val="65B32E"/>
                </a:solidFill>
                <a:latin typeface="DINPro-Black" panose="02000503030000020004" pitchFamily="2" charset="0"/>
                <a:sym typeface="Wingdings" panose="05000000000000000000" pitchFamily="2" charset="2"/>
              </a:rPr>
              <a:t> </a:t>
            </a:r>
            <a:br>
              <a:rPr lang="ru-RU" sz="2800" dirty="0">
                <a:solidFill>
                  <a:srgbClr val="65B32E"/>
                </a:solidFill>
                <a:latin typeface="DINPro-Black" panose="02000503030000020004" pitchFamily="2" charset="0"/>
                <a:sym typeface="Wingdings" panose="05000000000000000000" pitchFamily="2" charset="2"/>
              </a:rPr>
            </a:br>
            <a:r>
              <a:rPr lang="ru-RU" sz="2800" dirty="0">
                <a:solidFill>
                  <a:srgbClr val="65B32E"/>
                </a:solidFill>
                <a:latin typeface="DINPro-Black" panose="02000503030000020004" pitchFamily="2" charset="0"/>
                <a:sym typeface="Wingdings" panose="05000000000000000000" pitchFamily="2" charset="2"/>
              </a:rPr>
              <a:t>     </a:t>
            </a:r>
            <a:r>
              <a:rPr lang="de-DE" sz="2800" dirty="0">
                <a:solidFill>
                  <a:srgbClr val="65B32E"/>
                </a:solidFill>
                <a:latin typeface="DINPro-Black" panose="02000503030000020004" pitchFamily="2" charset="0"/>
                <a:sym typeface="Wingdings" panose="05000000000000000000" pitchFamily="2" charset="2"/>
              </a:rPr>
              <a:t> </a:t>
            </a:r>
            <a:r>
              <a:rPr lang="ru-RU" sz="2800" dirty="0">
                <a:solidFill>
                  <a:srgbClr val="65B32E"/>
                </a:solidFill>
                <a:latin typeface="DINPro-Black" panose="02000503030000020004" pitchFamily="2" charset="0"/>
                <a:sym typeface="Wingdings" panose="05000000000000000000" pitchFamily="2" charset="2"/>
              </a:rPr>
              <a:t> задействовано </a:t>
            </a:r>
            <a:r>
              <a:rPr lang="de-DE" sz="2800" dirty="0">
                <a:solidFill>
                  <a:srgbClr val="65B32E"/>
                </a:solidFill>
                <a:latin typeface="DINPro-Black" panose="02000503030000020004" pitchFamily="2" charset="0"/>
                <a:sym typeface="Wingdings" panose="05000000000000000000" pitchFamily="2" charset="2"/>
              </a:rPr>
              <a:t>5000 </a:t>
            </a:r>
            <a:r>
              <a:rPr lang="ru-RU" sz="2800" dirty="0">
                <a:solidFill>
                  <a:srgbClr val="65B32E"/>
                </a:solidFill>
                <a:latin typeface="DINPro-Black" panose="02000503030000020004" pitchFamily="2" charset="0"/>
                <a:sym typeface="Wingdings" panose="05000000000000000000" pitchFamily="2" charset="2"/>
              </a:rPr>
              <a:t>человек</a:t>
            </a:r>
            <a:endParaRPr lang="de-DE" sz="2800" dirty="0">
              <a:solidFill>
                <a:srgbClr val="65B32E"/>
              </a:solidFill>
              <a:latin typeface="DINPro-Black" panose="02000503030000020004" pitchFamily="2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A22A12A-D1E4-9449-B49E-221A9634F1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D1CEA82-C21E-B649-82EE-18D2AB949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65125"/>
            <a:ext cx="11233150" cy="430887"/>
          </a:xfrm>
        </p:spPr>
        <p:txBody>
          <a:bodyPr/>
          <a:lstStyle/>
          <a:p>
            <a:r>
              <a:rPr lang="ru-RU" dirty="0"/>
              <a:t>Расширение спектра посреднических  услуг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63059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FFCB912-11AF-5A40-8988-5CB21FB97B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5B32E"/>
                </a:solidFill>
                <a:latin typeface="DINPro-Regular" panose="02000503030000020003" pitchFamily="2" charset="0"/>
              </a:rPr>
              <a:t>&gt;&gt; </a:t>
            </a:r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</a:rPr>
              <a:t>членские взносы</a:t>
            </a:r>
            <a:endParaRPr lang="de-DE" b="0" dirty="0">
              <a:solidFill>
                <a:srgbClr val="414140"/>
              </a:solidFill>
              <a:latin typeface="DINPro-Regular" panose="02000503030000020003" pitchFamily="2" charset="0"/>
            </a:endParaRPr>
          </a:p>
          <a:p>
            <a:r>
              <a:rPr lang="de-DE" dirty="0">
                <a:solidFill>
                  <a:srgbClr val="65B32E"/>
                </a:solidFill>
                <a:latin typeface="DINPro-Regular" panose="02000503030000020003" pitchFamily="2" charset="0"/>
              </a:rPr>
              <a:t>&gt;&gt; </a:t>
            </a:r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комиссионные за отчетность и посредничество</a:t>
            </a:r>
            <a:endParaRPr lang="de-DE" b="0" dirty="0">
              <a:solidFill>
                <a:srgbClr val="414140"/>
              </a:solidFill>
              <a:latin typeface="DINPro-Regular" panose="02000503030000020003" pitchFamily="2" charset="0"/>
              <a:sym typeface="Wingdings" pitchFamily="2" charset="2"/>
            </a:endParaRPr>
          </a:p>
          <a:p>
            <a:r>
              <a:rPr lang="de-DE" dirty="0">
                <a:solidFill>
                  <a:srgbClr val="65B32E"/>
                </a:solidFill>
                <a:latin typeface="DINPro-Regular" panose="02000503030000020003" pitchFamily="2" charset="0"/>
              </a:rPr>
              <a:t>&gt;&gt; </a:t>
            </a:r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дополнительные поступления от производственной и коммерческой деятельности</a:t>
            </a:r>
            <a:r>
              <a:rPr lang="de-DE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 </a:t>
            </a:r>
          </a:p>
          <a:p>
            <a:r>
              <a:rPr lang="de-DE" dirty="0">
                <a:solidFill>
                  <a:srgbClr val="65B32E"/>
                </a:solidFill>
                <a:latin typeface="DINPro-Regular" panose="02000503030000020003" pitchFamily="2" charset="0"/>
              </a:rPr>
              <a:t>&gt;&gt; </a:t>
            </a:r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стартовая помощь от государства</a:t>
            </a:r>
            <a:endParaRPr lang="de-DE" b="0" dirty="0">
              <a:solidFill>
                <a:srgbClr val="414140"/>
              </a:solidFill>
              <a:latin typeface="DINPro-Regular" panose="02000503030000020003" pitchFamily="2" charset="0"/>
              <a:sym typeface="Wingdings" pitchFamily="2" charset="2"/>
            </a:endParaRPr>
          </a:p>
          <a:p>
            <a:pPr marL="342900" indent="-342900">
              <a:buFont typeface="Wingdings" pitchFamily="2" charset="2"/>
              <a:buChar char="à"/>
            </a:pPr>
            <a:endParaRPr lang="de-DE" sz="2000" u="sng" dirty="0">
              <a:sym typeface="Wingdings" pitchFamily="2" charset="2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A22A12A-D1E4-9449-B49E-221A9634F1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D1CEA82-C21E-B649-82EE-18D2AB949B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ИНАНСИРОВАНИЕ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736614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FFCB912-11AF-5A40-8988-5CB21FB97B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65B32E"/>
                </a:solidFill>
                <a:latin typeface="DINPro-Regular" panose="02000503030000020003" pitchFamily="2" charset="0"/>
              </a:rPr>
              <a:t>&gt;&gt; </a:t>
            </a:r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</a:rPr>
              <a:t>как правило, меры поддержки заканчиваются </a:t>
            </a:r>
            <a:b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</a:rPr>
            </a:br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</a:rPr>
              <a:t>через </a:t>
            </a:r>
            <a:r>
              <a:rPr lang="de-DE" b="0" dirty="0">
                <a:solidFill>
                  <a:srgbClr val="414140"/>
                </a:solidFill>
                <a:latin typeface="DINPro-Regular" panose="02000503030000020003" pitchFamily="2" charset="0"/>
              </a:rPr>
              <a:t>5-10 </a:t>
            </a:r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</a:rPr>
              <a:t>лет</a:t>
            </a:r>
            <a:endParaRPr lang="de-DE" b="0" dirty="0">
              <a:solidFill>
                <a:srgbClr val="414140"/>
              </a:solidFill>
              <a:latin typeface="DINPro-Regular" panose="02000503030000020003" pitchFamily="2" charset="0"/>
            </a:endParaRPr>
          </a:p>
          <a:p>
            <a:r>
              <a:rPr lang="de-DE" dirty="0">
                <a:solidFill>
                  <a:srgbClr val="65B32E"/>
                </a:solidFill>
                <a:latin typeface="DINPro-Regular" panose="02000503030000020003" pitchFamily="2" charset="0"/>
              </a:rPr>
              <a:t>&gt;&gt; </a:t>
            </a:r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субсидирование затрат на содержание персонала </a:t>
            </a:r>
            <a:b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</a:br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и приобретение инвентаря</a:t>
            </a:r>
            <a:endParaRPr lang="de-DE" b="0" dirty="0">
              <a:solidFill>
                <a:srgbClr val="414140"/>
              </a:solidFill>
              <a:latin typeface="DINPro-Regular" panose="02000503030000020003" pitchFamily="2" charset="0"/>
              <a:sym typeface="Wingdings" pitchFamily="2" charset="2"/>
            </a:endParaRPr>
          </a:p>
          <a:p>
            <a:r>
              <a:rPr lang="de-DE" dirty="0">
                <a:solidFill>
                  <a:srgbClr val="65B32E"/>
                </a:solidFill>
                <a:latin typeface="DINPro-Regular" panose="02000503030000020003" pitchFamily="2" charset="0"/>
              </a:rPr>
              <a:t>&gt;&gt; </a:t>
            </a:r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возможность для лучшего начала бизнеса</a:t>
            </a:r>
            <a:endParaRPr lang="de-DE" b="0" dirty="0">
              <a:solidFill>
                <a:srgbClr val="414140"/>
              </a:solidFill>
              <a:latin typeface="DINPro-Regular" panose="02000503030000020003" pitchFamily="2" charset="0"/>
              <a:sym typeface="Wingdings" pitchFamily="2" charset="2"/>
            </a:endParaRPr>
          </a:p>
          <a:p>
            <a:pPr marL="342900" indent="-342900">
              <a:buFont typeface="Wingdings" pitchFamily="2" charset="2"/>
              <a:buChar char="à"/>
            </a:pPr>
            <a:endParaRPr lang="de-DE" sz="2000" u="sng" dirty="0">
              <a:sym typeface="Wingdings" pitchFamily="2" charset="2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A22A12A-D1E4-9449-B49E-221A9634F1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D1CEA82-C21E-B649-82EE-18D2AB949B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ГОСПОддерж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19645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FFCB912-11AF-5A40-8988-5CB21FB97B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1177" y="1517217"/>
            <a:ext cx="10615294" cy="4266000"/>
          </a:xfrm>
        </p:spPr>
        <p:txBody>
          <a:bodyPr/>
          <a:lstStyle/>
          <a:p>
            <a:r>
              <a:rPr lang="ru-RU" sz="2800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 </a:t>
            </a:r>
            <a:r>
              <a:rPr lang="ru-RU" sz="2800" u="sng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Союз физических или юридических лиц </a:t>
            </a:r>
            <a:r>
              <a:rPr lang="en-US" sz="2800" u="sng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(</a:t>
            </a:r>
            <a:r>
              <a:rPr lang="de-DE" sz="2800" u="sng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„</a:t>
            </a:r>
            <a:r>
              <a:rPr lang="en-US" sz="2800" u="sng" dirty="0" err="1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Verein</a:t>
            </a:r>
            <a:r>
              <a:rPr lang="en-US" sz="2800" u="sng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”)</a:t>
            </a:r>
            <a:endParaRPr lang="de-DE" sz="2800" dirty="0">
              <a:solidFill>
                <a:srgbClr val="65B32E"/>
              </a:solidFill>
              <a:latin typeface="DINPro-Black" panose="02000503030000020004" pitchFamily="2" charset="0"/>
              <a:sym typeface="Wingdings" pitchFamily="2" charset="2"/>
            </a:endParaRPr>
          </a:p>
          <a:p>
            <a:pPr marL="342900" indent="-342900">
              <a:buFontTx/>
              <a:buChar char="-"/>
            </a:pPr>
            <a:r>
              <a:rPr lang="ru-RU" sz="2000" b="0" dirty="0">
                <a:latin typeface="DINPro-Regular" panose="02000503030000020003" pitchFamily="2" charset="0"/>
                <a:sym typeface="Wingdings" pitchFamily="2" charset="2"/>
              </a:rPr>
              <a:t>утвердившаяся и известная в Германии форма</a:t>
            </a:r>
            <a:endParaRPr lang="de-DE" sz="2000" b="0" dirty="0">
              <a:latin typeface="DINPro-Regular" panose="02000503030000020003" pitchFamily="2" charset="0"/>
              <a:sym typeface="Wingdings" pitchFamily="2" charset="2"/>
            </a:endParaRPr>
          </a:p>
          <a:p>
            <a:pPr marL="342900" indent="-342900">
              <a:buFontTx/>
              <a:buChar char="-"/>
            </a:pPr>
            <a:r>
              <a:rPr lang="ru-RU" sz="2000" b="0" dirty="0">
                <a:latin typeface="DINPro-Regular" panose="02000503030000020003" pitchFamily="2" charset="0"/>
                <a:sym typeface="Wingdings" pitchFamily="2" charset="2"/>
              </a:rPr>
              <a:t>не менее 7 членов</a:t>
            </a:r>
            <a:endParaRPr lang="de-DE" sz="2000" b="0" dirty="0">
              <a:latin typeface="DINPro-Regular" panose="02000503030000020003" pitchFamily="2" charset="0"/>
              <a:sym typeface="Wingdings" pitchFamily="2" charset="2"/>
            </a:endParaRPr>
          </a:p>
          <a:p>
            <a:pPr marL="342900" indent="-342900">
              <a:buFontTx/>
              <a:buChar char="-"/>
            </a:pPr>
            <a:r>
              <a:rPr lang="ru-RU" sz="2000" b="0" dirty="0">
                <a:latin typeface="DINPro-Regular" panose="02000503030000020003" pitchFamily="2" charset="0"/>
                <a:sym typeface="Wingdings" pitchFamily="2" charset="2"/>
              </a:rPr>
              <a:t>основа</a:t>
            </a:r>
            <a:r>
              <a:rPr lang="de-DE" sz="2000" b="0" dirty="0">
                <a:latin typeface="DINPro-Regular" panose="02000503030000020003" pitchFamily="2" charset="0"/>
                <a:sym typeface="Wingdings" pitchFamily="2" charset="2"/>
              </a:rPr>
              <a:t>: </a:t>
            </a:r>
            <a:r>
              <a:rPr lang="ru-RU" sz="2000" b="0" dirty="0">
                <a:latin typeface="DINPro-Regular" panose="02000503030000020003" pitchFamily="2" charset="0"/>
                <a:sym typeface="Wingdings" pitchFamily="2" charset="2"/>
              </a:rPr>
              <a:t>на общественных началах </a:t>
            </a:r>
            <a:r>
              <a:rPr lang="de-DE" sz="2000" b="0" dirty="0">
                <a:latin typeface="DINPro-Regular" panose="02000503030000020003" pitchFamily="2" charset="0"/>
                <a:sym typeface="Wingdings" pitchFamily="2" charset="2"/>
              </a:rPr>
              <a:t>= </a:t>
            </a:r>
            <a:r>
              <a:rPr lang="ru-RU" sz="2000" b="0" dirty="0">
                <a:latin typeface="DINPro-Regular" panose="02000503030000020003" pitchFamily="2" charset="0"/>
                <a:sym typeface="Wingdings" pitchFamily="2" charset="2"/>
              </a:rPr>
              <a:t>сельхозпроизводители</a:t>
            </a:r>
            <a:endParaRPr lang="de-DE" sz="2000" b="0" dirty="0">
              <a:latin typeface="DINPro-Regular" panose="02000503030000020003" pitchFamily="2" charset="0"/>
              <a:sym typeface="Wingdings" pitchFamily="2" charset="2"/>
            </a:endParaRPr>
          </a:p>
          <a:p>
            <a:pPr marL="342900" indent="-342900">
              <a:buFontTx/>
              <a:buChar char="-"/>
            </a:pPr>
            <a:r>
              <a:rPr lang="ru-RU" sz="2000" b="0" dirty="0">
                <a:latin typeface="DINPro-Regular" panose="02000503030000020003" pitchFamily="2" charset="0"/>
                <a:sym typeface="Wingdings" pitchFamily="2" charset="2"/>
              </a:rPr>
              <a:t>прочные связи между членами организации</a:t>
            </a:r>
            <a:r>
              <a:rPr lang="de-DE" sz="2000" b="0" dirty="0">
                <a:latin typeface="DINPro-Regular" panose="02000503030000020003" pitchFamily="2" charset="0"/>
                <a:sym typeface="Wingdings" pitchFamily="2" charset="2"/>
              </a:rPr>
              <a:t> –&gt; </a:t>
            </a:r>
            <a:r>
              <a:rPr lang="ru-RU" sz="2000" b="0" dirty="0">
                <a:latin typeface="DINPro-Regular" panose="02000503030000020003" pitchFamily="2" charset="0"/>
                <a:sym typeface="Wingdings" pitchFamily="2" charset="2"/>
              </a:rPr>
              <a:t>ощущение принадлежности</a:t>
            </a:r>
            <a:endParaRPr lang="de-DE" sz="2000" b="0" dirty="0">
              <a:latin typeface="DINPro-Regular" panose="02000503030000020003" pitchFamily="2" charset="0"/>
              <a:sym typeface="Wingdings" pitchFamily="2" charset="2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A22A12A-D1E4-9449-B49E-221A9634F1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D1CEA82-C21E-B649-82EE-18D2AB949B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АВОВАЯ ФОРМ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17429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FFCB912-11AF-5A40-8988-5CB21FB97B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816" y="1004034"/>
            <a:ext cx="10267123" cy="4266000"/>
          </a:xfrm>
        </p:spPr>
        <p:txBody>
          <a:bodyPr/>
          <a:lstStyle/>
          <a:p>
            <a:r>
              <a:rPr lang="de-DE" sz="2800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A) </a:t>
            </a:r>
            <a:r>
              <a:rPr lang="ru-RU" sz="2800">
                <a:solidFill>
                  <a:srgbClr val="414140"/>
                </a:solidFill>
                <a:latin typeface="DINPro-Black" panose="02000503030000020004" pitchFamily="2" charset="0"/>
                <a:sym typeface="Wingdings" pitchFamily="2" charset="2"/>
              </a:rPr>
              <a:t>генеральный </a:t>
            </a:r>
            <a:r>
              <a:rPr lang="ru-RU" sz="2800" dirty="0">
                <a:solidFill>
                  <a:srgbClr val="414140"/>
                </a:solidFill>
                <a:latin typeface="DINPro-Black" panose="02000503030000020004" pitchFamily="2" charset="0"/>
                <a:sym typeface="Wingdings" pitchFamily="2" charset="2"/>
              </a:rPr>
              <a:t>подрядчик </a:t>
            </a:r>
            <a:r>
              <a:rPr lang="en-US" sz="2800" dirty="0">
                <a:solidFill>
                  <a:srgbClr val="414140"/>
                </a:solidFill>
                <a:latin typeface="DINPro-Black" panose="02000503030000020004" pitchFamily="2" charset="0"/>
                <a:sym typeface="Wingdings" pitchFamily="2" charset="2"/>
              </a:rPr>
              <a:t>(L</a:t>
            </a:r>
            <a:r>
              <a:rPr lang="de-DE" sz="2800" dirty="0" err="1">
                <a:solidFill>
                  <a:srgbClr val="414140"/>
                </a:solidFill>
                <a:latin typeface="DINPro-Black" panose="02000503030000020004" pitchFamily="2" charset="0"/>
                <a:sym typeface="Wingdings" pitchFamily="2" charset="2"/>
              </a:rPr>
              <a:t>ohnunternehmer</a:t>
            </a:r>
            <a:r>
              <a:rPr lang="de-DE" sz="2800" dirty="0">
                <a:solidFill>
                  <a:srgbClr val="414140"/>
                </a:solidFill>
                <a:latin typeface="DINPro-Black" panose="02000503030000020004" pitchFamily="2" charset="0"/>
                <a:sym typeface="Wingdings" pitchFamily="2" charset="2"/>
              </a:rPr>
              <a:t>)</a:t>
            </a:r>
          </a:p>
          <a:p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  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    Сельхозпроизводитель начинает профессионально предлагать </a:t>
            </a:r>
            <a:b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</a:b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      несколько видов техники.</a:t>
            </a:r>
            <a:endParaRPr lang="de-DE" sz="700" dirty="0">
              <a:sym typeface="Wingdings" pitchFamily="2" charset="2"/>
            </a:endParaRPr>
          </a:p>
          <a:p>
            <a:r>
              <a:rPr lang="de-DE" sz="2800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B) </a:t>
            </a:r>
            <a:r>
              <a:rPr lang="ru-RU" sz="2800" dirty="0">
                <a:solidFill>
                  <a:srgbClr val="414140"/>
                </a:solidFill>
                <a:latin typeface="DINPro-Black" panose="02000503030000020004" pitchFamily="2" charset="0"/>
                <a:sym typeface="Wingdings" pitchFamily="2" charset="2"/>
              </a:rPr>
              <a:t>ассоциация товариществ по совместному использованию сельхозтехники</a:t>
            </a:r>
            <a:endParaRPr lang="de-DE" sz="2800" dirty="0">
              <a:solidFill>
                <a:srgbClr val="414140"/>
              </a:solidFill>
              <a:latin typeface="DINPro-Black" panose="02000503030000020004" pitchFamily="2" charset="0"/>
              <a:sym typeface="Wingdings" pitchFamily="2" charset="2"/>
            </a:endParaRPr>
          </a:p>
          <a:p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     Несколько сельхозпроизводителей инвестируют в технику.</a:t>
            </a:r>
            <a:endParaRPr lang="de-DE" sz="700" dirty="0">
              <a:sym typeface="Wingdings" pitchFamily="2" charset="2"/>
            </a:endParaRPr>
          </a:p>
          <a:p>
            <a:r>
              <a:rPr lang="ru-RU" sz="2800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С</a:t>
            </a:r>
            <a:r>
              <a:rPr lang="de-DE" sz="2800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) </a:t>
            </a:r>
            <a:r>
              <a:rPr lang="ru-RU" sz="2800" dirty="0">
                <a:solidFill>
                  <a:srgbClr val="414140"/>
                </a:solidFill>
                <a:latin typeface="DINPro-Black" panose="02000503030000020004" pitchFamily="2" charset="0"/>
                <a:sym typeface="Wingdings" pitchFamily="2" charset="2"/>
              </a:rPr>
              <a:t>Товарищество (</a:t>
            </a:r>
            <a:r>
              <a:rPr lang="en-US" sz="2800" dirty="0" err="1">
                <a:solidFill>
                  <a:srgbClr val="414140"/>
                </a:solidFill>
                <a:latin typeface="DINPro-Black" panose="02000503030000020004" pitchFamily="2" charset="0"/>
                <a:sym typeface="Wingdings" pitchFamily="2" charset="2"/>
              </a:rPr>
              <a:t>Maschinenring</a:t>
            </a:r>
            <a:r>
              <a:rPr lang="en-US" sz="2800" dirty="0">
                <a:solidFill>
                  <a:srgbClr val="414140"/>
                </a:solidFill>
                <a:latin typeface="DINPro-Black" panose="02000503030000020004" pitchFamily="2" charset="0"/>
                <a:sym typeface="Wingdings" pitchFamily="2" charset="2"/>
              </a:rPr>
              <a:t>) </a:t>
            </a:r>
            <a:r>
              <a:rPr lang="ru-RU" sz="2800" dirty="0">
                <a:solidFill>
                  <a:srgbClr val="414140"/>
                </a:solidFill>
                <a:latin typeface="DINPro-Black" panose="02000503030000020004" pitchFamily="2" charset="0"/>
                <a:sym typeface="Wingdings" pitchFamily="2" charset="2"/>
              </a:rPr>
              <a:t>заказывает технику</a:t>
            </a:r>
            <a:endParaRPr lang="de-DE" sz="2800" dirty="0">
              <a:solidFill>
                <a:srgbClr val="414140"/>
              </a:solidFill>
              <a:latin typeface="DINPro-Black" panose="02000503030000020004" pitchFamily="2" charset="0"/>
              <a:sym typeface="Wingdings" pitchFamily="2" charset="2"/>
            </a:endParaRPr>
          </a:p>
          <a:p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     Как правило, это специализированная техника</a:t>
            </a: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 (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к примеру, камнеуборочная машина</a:t>
            </a: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, 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   </a:t>
            </a:r>
            <a:b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</a:b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     станки для обработки копыт</a:t>
            </a: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)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 или для первоначального оснащения, когда</a:t>
            </a:r>
            <a:r>
              <a:rPr lang="en-US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 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вообще </a:t>
            </a:r>
            <a:b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</a:b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     отсутствует техника </a:t>
            </a:r>
            <a:endParaRPr lang="de-DE" sz="2000" b="0" dirty="0">
              <a:solidFill>
                <a:srgbClr val="414140"/>
              </a:solidFill>
              <a:latin typeface="DINPro-Regular" panose="02000503030000020003" pitchFamily="2" charset="0"/>
              <a:sym typeface="Wingdings" pitchFamily="2" charset="2"/>
            </a:endParaRPr>
          </a:p>
          <a:p>
            <a:r>
              <a:rPr lang="de-DE" sz="2000" b="0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</a:t>
            </a:r>
            <a:r>
              <a:rPr lang="ru-RU" sz="2000" b="0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 </a:t>
            </a:r>
            <a:r>
              <a:rPr lang="ru-RU" b="0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Машинный ринг</a:t>
            </a:r>
            <a:r>
              <a:rPr lang="de-DE" b="0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 </a:t>
            </a:r>
            <a:r>
              <a:rPr lang="ru-RU" b="0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объединяет в себе </a:t>
            </a:r>
            <a:r>
              <a:rPr lang="ru-RU" b="0" u="sng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все</a:t>
            </a:r>
            <a:r>
              <a:rPr lang="de-DE" b="0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 </a:t>
            </a:r>
            <a:r>
              <a:rPr lang="ru-RU" b="0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варианты </a:t>
            </a:r>
            <a:r>
              <a:rPr lang="de-DE" b="0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 </a:t>
            </a:r>
            <a:br>
              <a:rPr lang="ru-RU" b="0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</a:br>
            <a:r>
              <a:rPr lang="ru-RU" b="0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    важна нейтральность</a:t>
            </a:r>
            <a:r>
              <a:rPr lang="de-DE" b="0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: </a:t>
            </a:r>
            <a:r>
              <a:rPr lang="ru-RU" b="0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посредничество</a:t>
            </a:r>
            <a:r>
              <a:rPr lang="de-DE" b="0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, </a:t>
            </a:r>
            <a:r>
              <a:rPr lang="ru-RU" b="0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финансовая отчетность</a:t>
            </a:r>
            <a:endParaRPr lang="de-DE" b="0" dirty="0">
              <a:solidFill>
                <a:srgbClr val="65B32E"/>
              </a:solidFill>
              <a:latin typeface="DINPro-Black" panose="02000503030000020004" pitchFamily="2" charset="0"/>
              <a:sym typeface="Wingdings" pitchFamily="2" charset="2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A22A12A-D1E4-9449-B49E-221A9634F1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571403"/>
            <a:ext cx="11233150" cy="369332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D1CEA82-C21E-B649-82EE-18D2AB949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433" y="159852"/>
            <a:ext cx="11233150" cy="430887"/>
          </a:xfrm>
        </p:spPr>
        <p:txBody>
          <a:bodyPr/>
          <a:lstStyle/>
          <a:p>
            <a:r>
              <a:rPr lang="ru-RU" dirty="0"/>
              <a:t>ВАРИАНТ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094912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Gras, draußen, Gebäude, Feld enthält.&#10;&#10;Automatisch generierte Beschreibung">
            <a:extLst>
              <a:ext uri="{FF2B5EF4-FFF2-40B4-BE49-F238E27FC236}">
                <a16:creationId xmlns:a16="http://schemas.microsoft.com/office/drawing/2014/main" id="{05216113-6997-4EA6-93B4-B4B0D86D9F6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17" t="8460" b="7644"/>
          <a:stretch/>
        </p:blipFill>
        <p:spPr>
          <a:xfrm>
            <a:off x="-978454" y="-775252"/>
            <a:ext cx="14347687" cy="8070574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9069E80-1990-544C-BA75-E272CC0379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561F503-B42A-AA4B-906E-BE29581235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КУЩЕЕ СОСТОЯНИЕ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E409D6B-F031-4C77-BAE9-0AF8AFE048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Oval 39">
            <a:extLst>
              <a:ext uri="{FF2B5EF4-FFF2-40B4-BE49-F238E27FC236}">
                <a16:creationId xmlns:a16="http://schemas.microsoft.com/office/drawing/2014/main" id="{8D1705BE-D8A4-4375-B299-F53A2CC0DC49}"/>
              </a:ext>
            </a:extLst>
          </p:cNvPr>
          <p:cNvSpPr/>
          <p:nvPr/>
        </p:nvSpPr>
        <p:spPr>
          <a:xfrm>
            <a:off x="1062447" y="1812007"/>
            <a:ext cx="4098663" cy="4098663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E51A909-A22F-4AC0-9C8E-3B2439A65195}"/>
              </a:ext>
            </a:extLst>
          </p:cNvPr>
          <p:cNvSpPr txBox="1"/>
          <p:nvPr/>
        </p:nvSpPr>
        <p:spPr>
          <a:xfrm>
            <a:off x="1299115" y="2920044"/>
            <a:ext cx="35930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>
                <a:solidFill>
                  <a:schemeClr val="bg1"/>
                </a:solidFill>
                <a:latin typeface="DINPro-Black" panose="02000503030000020004" pitchFamily="2" charset="0"/>
              </a:rPr>
              <a:t>Миссия</a:t>
            </a:r>
            <a:endParaRPr lang="de-DE" b="1" dirty="0">
              <a:solidFill>
                <a:schemeClr val="bg1"/>
              </a:solidFill>
              <a:latin typeface="DINPro-Black" panose="02000503030000020004" pitchFamily="2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CB448B24-B35E-4D62-AC5F-935C4F6102C5}"/>
              </a:ext>
            </a:extLst>
          </p:cNvPr>
          <p:cNvSpPr txBox="1"/>
          <p:nvPr/>
        </p:nvSpPr>
        <p:spPr>
          <a:xfrm>
            <a:off x="1419242" y="3861337"/>
            <a:ext cx="35930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solidFill>
                  <a:schemeClr val="tx2"/>
                </a:solidFill>
                <a:latin typeface="DINPro-Regular" panose="02000503030000020003" pitchFamily="2" charset="0"/>
              </a:rPr>
              <a:t>Совместное достижение целей</a:t>
            </a:r>
            <a:r>
              <a:rPr lang="de-DE" sz="2000" dirty="0">
                <a:solidFill>
                  <a:schemeClr val="tx2"/>
                </a:solidFill>
                <a:latin typeface="DINPro-Regular" panose="02000503030000020003" pitchFamily="2" charset="0"/>
              </a:rPr>
              <a:t>.</a:t>
            </a:r>
          </a:p>
        </p:txBody>
      </p:sp>
      <p:sp>
        <p:nvSpPr>
          <p:cNvPr id="14" name="Oval 40">
            <a:extLst>
              <a:ext uri="{FF2B5EF4-FFF2-40B4-BE49-F238E27FC236}">
                <a16:creationId xmlns:a16="http://schemas.microsoft.com/office/drawing/2014/main" id="{0B09D7A0-0A4F-41F6-AE88-88C19F7FAD51}"/>
              </a:ext>
            </a:extLst>
          </p:cNvPr>
          <p:cNvSpPr/>
          <p:nvPr/>
        </p:nvSpPr>
        <p:spPr>
          <a:xfrm>
            <a:off x="6959431" y="1812006"/>
            <a:ext cx="4098663" cy="40986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BCC46E7-E579-4177-AF54-1D3D66AB830E}"/>
              </a:ext>
            </a:extLst>
          </p:cNvPr>
          <p:cNvSpPr txBox="1"/>
          <p:nvPr/>
        </p:nvSpPr>
        <p:spPr>
          <a:xfrm>
            <a:off x="7142972" y="2481505"/>
            <a:ext cx="359305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>
                <a:solidFill>
                  <a:schemeClr val="bg2"/>
                </a:solidFill>
                <a:latin typeface="DINPro-Black" panose="02000503030000020004" pitchFamily="2" charset="0"/>
              </a:rPr>
              <a:t>Видение будущего</a:t>
            </a:r>
            <a:endParaRPr lang="de-DE" b="1" dirty="0">
              <a:solidFill>
                <a:schemeClr val="bg2"/>
              </a:solidFill>
              <a:latin typeface="DINPro-Black" panose="02000503030000020004" pitchFamily="2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6E8AC75E-9A26-4D47-A72B-1E56032789B4}"/>
              </a:ext>
            </a:extLst>
          </p:cNvPr>
          <p:cNvSpPr txBox="1"/>
          <p:nvPr/>
        </p:nvSpPr>
        <p:spPr>
          <a:xfrm>
            <a:off x="7260643" y="3861337"/>
            <a:ext cx="359305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solidFill>
                  <a:schemeClr val="tx2"/>
                </a:solidFill>
                <a:latin typeface="DINPro-Regular" panose="02000503030000020003" pitchFamily="2" charset="0"/>
              </a:rPr>
              <a:t>Самая важная профессия на свете заслуживает самого лучшего уровня услуг</a:t>
            </a:r>
            <a:r>
              <a:rPr lang="de-DE" sz="2000" dirty="0">
                <a:solidFill>
                  <a:schemeClr val="tx2"/>
                </a:solidFill>
                <a:latin typeface="DINPro-Regular" panose="02000503030000020003" pitchFamily="2" charset="0"/>
              </a:rPr>
              <a:t>.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B178A6E1-291B-4A5D-A4A0-FCB2AD3FAFD1}"/>
              </a:ext>
            </a:extLst>
          </p:cNvPr>
          <p:cNvCxnSpPr/>
          <p:nvPr/>
        </p:nvCxnSpPr>
        <p:spPr>
          <a:xfrm>
            <a:off x="3794889" y="5071576"/>
            <a:ext cx="4561243" cy="0"/>
          </a:xfrm>
          <a:prstGeom prst="straightConnector1">
            <a:avLst/>
          </a:prstGeom>
          <a:ln w="19050">
            <a:solidFill>
              <a:schemeClr val="tx2"/>
            </a:solidFill>
            <a:headEnd type="oval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14846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 descr="Ein Bild, das Person, drinnen, sitzend, grün enthält.&#10;&#10;Automatisch generierte Beschreibung">
            <a:extLst>
              <a:ext uri="{FF2B5EF4-FFF2-40B4-BE49-F238E27FC236}">
                <a16:creationId xmlns:a16="http://schemas.microsoft.com/office/drawing/2014/main" id="{EEC725E9-EDB0-0540-A7DC-4A6D882CA70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" r="-43"/>
          <a:stretch/>
        </p:blipFill>
        <p:spPr bwMode="auto">
          <a:xfrm>
            <a:off x="-202995" y="-979217"/>
            <a:ext cx="15747795" cy="8880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D3C070CD-1F0B-6147-8D73-33AF7E45C3C2}"/>
              </a:ext>
            </a:extLst>
          </p:cNvPr>
          <p:cNvSpPr txBox="1">
            <a:spLocks/>
          </p:cNvSpPr>
          <p:nvPr/>
        </p:nvSpPr>
        <p:spPr>
          <a:xfrm>
            <a:off x="740227" y="123458"/>
            <a:ext cx="10287001" cy="113928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ts val="3080"/>
              </a:lnSpc>
            </a:pPr>
            <a:r>
              <a:rPr lang="ru-RU" sz="2400" dirty="0">
                <a:solidFill>
                  <a:schemeClr val="bg1"/>
                </a:solidFill>
                <a:latin typeface="DINPro-Black" panose="02000503030000020004" pitchFamily="2" charset="0"/>
              </a:rPr>
              <a:t>Д-р Эрих </a:t>
            </a:r>
            <a:r>
              <a:rPr lang="ru-RU" sz="2400" dirty="0" err="1">
                <a:solidFill>
                  <a:schemeClr val="bg1"/>
                </a:solidFill>
                <a:latin typeface="DINPro-Black" panose="02000503030000020004" pitchFamily="2" charset="0"/>
              </a:rPr>
              <a:t>Гайерсбергер</a:t>
            </a:r>
            <a:br>
              <a:rPr lang="de-DE" sz="2400" b="1" dirty="0">
                <a:solidFill>
                  <a:schemeClr val="bg1"/>
                </a:solidFill>
                <a:latin typeface="DINPro-Black" panose="02000503030000020004" pitchFamily="2" charset="0"/>
              </a:rPr>
            </a:br>
            <a:r>
              <a:rPr lang="ru-RU" sz="2400" b="1" dirty="0">
                <a:solidFill>
                  <a:srgbClr val="65B32E"/>
                </a:solidFill>
                <a:latin typeface="DINPro-Black" panose="02000503030000020004" pitchFamily="2" charset="0"/>
              </a:rPr>
              <a:t>Основатель фирмы</a:t>
            </a:r>
            <a:endParaRPr lang="de-DE" sz="2400" b="1" dirty="0">
              <a:solidFill>
                <a:srgbClr val="65B32E"/>
              </a:solidFill>
              <a:latin typeface="DINPro-Black" panose="02000503030000020004" pitchFamily="2" charset="0"/>
            </a:endParaRP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4C2B13D-6064-414D-AD8A-48FC6937F4E8}"/>
              </a:ext>
            </a:extLst>
          </p:cNvPr>
          <p:cNvSpPr txBox="1">
            <a:spLocks/>
          </p:cNvSpPr>
          <p:nvPr/>
        </p:nvSpPr>
        <p:spPr>
          <a:xfrm>
            <a:off x="1" y="2267462"/>
            <a:ext cx="11199680" cy="23876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280"/>
              </a:lnSpc>
            </a:pPr>
            <a:r>
              <a:rPr lang="ru-RU" sz="4000" dirty="0">
                <a:solidFill>
                  <a:schemeClr val="bg1"/>
                </a:solidFill>
                <a:latin typeface="DINPro-Black" panose="02000503030000020003" pitchFamily="2" charset="0"/>
              </a:rPr>
              <a:t>Сообщество  ТОВАРИЩЕСТВ </a:t>
            </a:r>
            <a:br>
              <a:rPr lang="ru-RU" sz="4000" dirty="0">
                <a:solidFill>
                  <a:schemeClr val="bg1"/>
                </a:solidFill>
                <a:latin typeface="DINPro-Black" panose="02000503030000020003" pitchFamily="2" charset="0"/>
              </a:rPr>
            </a:br>
            <a:r>
              <a:rPr lang="ru-RU" sz="4000" dirty="0">
                <a:solidFill>
                  <a:schemeClr val="bg1"/>
                </a:solidFill>
                <a:latin typeface="DINPro-Black" panose="02000503030000020003" pitchFamily="2" charset="0"/>
              </a:rPr>
              <a:t>ПО СОВМЕСТНОМУ  ИСПОЛЬЗОВАНИЮ СЕЛЬХОЗТЕХНИКИ</a:t>
            </a:r>
            <a:br>
              <a:rPr lang="de-DE" sz="4000" dirty="0">
                <a:solidFill>
                  <a:schemeClr val="bg1"/>
                </a:solidFill>
                <a:latin typeface="DINPro-Black" panose="02000503030000020003" pitchFamily="2" charset="0"/>
              </a:rPr>
            </a:br>
            <a:r>
              <a:rPr lang="ru-RU" sz="4000" dirty="0">
                <a:solidFill>
                  <a:schemeClr val="bg1"/>
                </a:solidFill>
                <a:latin typeface="DINPro-Black" panose="02000503030000020003" pitchFamily="2" charset="0"/>
              </a:rPr>
              <a:t>ПРЕВРАЩАЕТ  СРАЖАЮЩИХСЯ </a:t>
            </a:r>
            <a:br>
              <a:rPr lang="ru-RU" sz="4000" dirty="0">
                <a:solidFill>
                  <a:schemeClr val="bg1"/>
                </a:solidFill>
                <a:latin typeface="DINPro-Black" panose="02000503030000020003" pitchFamily="2" charset="0"/>
              </a:rPr>
            </a:br>
            <a:r>
              <a:rPr lang="ru-RU" sz="4000" dirty="0">
                <a:solidFill>
                  <a:schemeClr val="bg1"/>
                </a:solidFill>
                <a:latin typeface="DINPro-Black" panose="02000503030000020003" pitchFamily="2" charset="0"/>
              </a:rPr>
              <a:t>В ОДИНОЧКУ  в  Отлаженное  сообщество</a:t>
            </a:r>
            <a:r>
              <a:rPr lang="de-DE" sz="4000" dirty="0">
                <a:solidFill>
                  <a:schemeClr val="bg1"/>
                </a:solidFill>
                <a:latin typeface="DINPro-Black" panose="02000503030000020003" pitchFamily="2" charset="0"/>
              </a:rPr>
              <a:t>.</a:t>
            </a:r>
            <a:r>
              <a:rPr lang="ru-RU" sz="4000" dirty="0">
                <a:solidFill>
                  <a:schemeClr val="bg1"/>
                </a:solidFill>
                <a:latin typeface="DINPro-Black" panose="02000503030000020003" pitchFamily="2" charset="0"/>
              </a:rPr>
              <a:t> </a:t>
            </a:r>
            <a:endParaRPr lang="de-DE" sz="4000" dirty="0">
              <a:solidFill>
                <a:schemeClr val="bg1"/>
              </a:solidFill>
              <a:latin typeface="DINPro-Black" panose="020005030300000200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7174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ie Maschinenring Organisation">
            <a:extLst>
              <a:ext uri="{FF2B5EF4-FFF2-40B4-BE49-F238E27FC236}">
                <a16:creationId xmlns:a16="http://schemas.microsoft.com/office/drawing/2014/main" id="{8A740045-FE0B-486C-8428-C6A1B5BBB5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7839" y="369799"/>
            <a:ext cx="8595361" cy="6083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76254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4" name="Bild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2079" y="273734"/>
            <a:ext cx="4403639" cy="608176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pic>
        <p:nvPicPr>
          <p:cNvPr id="7" name="Pins_Vorlage" hidden="1"/>
          <p:cNvPicPr>
            <a:picLocks noChangeAspect="1"/>
          </p:cNvPicPr>
          <p:nvPr/>
        </p:nvPicPr>
        <p:blipFill>
          <a:blip r:embed="rId7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6738" y="228600"/>
            <a:ext cx="3894835" cy="5777897"/>
          </a:xfrm>
          <a:prstGeom prst="rect">
            <a:avLst/>
          </a:prstGeom>
        </p:spPr>
      </p:pic>
      <p:grpSp>
        <p:nvGrpSpPr>
          <p:cNvPr id="8" name="Gruppieren 7"/>
          <p:cNvGrpSpPr/>
          <p:nvPr/>
        </p:nvGrpSpPr>
        <p:grpSpPr>
          <a:xfrm>
            <a:off x="1582418" y="4148547"/>
            <a:ext cx="2895985" cy="1155666"/>
            <a:chOff x="8623805" y="2816175"/>
            <a:chExt cx="2895985" cy="1155666"/>
          </a:xfrm>
        </p:grpSpPr>
        <p:sp>
          <p:nvSpPr>
            <p:cNvPr id="293" name="Textfeld 292"/>
            <p:cNvSpPr txBox="1"/>
            <p:nvPr/>
          </p:nvSpPr>
          <p:spPr>
            <a:xfrm>
              <a:off x="8623805" y="2816175"/>
              <a:ext cx="2229633" cy="8309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5400" b="1" dirty="0">
                  <a:solidFill>
                    <a:schemeClr val="bg2"/>
                  </a:solidFill>
                  <a:latin typeface="DINPro-Black" panose="02000503030000020004" pitchFamily="2" charset="0"/>
                  <a:ea typeface="Arial Black" charset="0"/>
                  <a:cs typeface="Arial Black" charset="0"/>
                </a:rPr>
                <a:t>240</a:t>
              </a:r>
              <a:endParaRPr lang="de-DE" sz="2000" b="1" dirty="0">
                <a:solidFill>
                  <a:schemeClr val="bg2"/>
                </a:solidFill>
                <a:latin typeface="DINPro-Black" panose="02000503030000020004" pitchFamily="2" charset="0"/>
                <a:ea typeface="Arial Black" charset="0"/>
                <a:cs typeface="Arial Black" charset="0"/>
              </a:endParaRPr>
            </a:p>
          </p:txBody>
        </p:sp>
        <p:sp>
          <p:nvSpPr>
            <p:cNvPr id="295" name="Textfeld 294"/>
            <p:cNvSpPr txBox="1"/>
            <p:nvPr/>
          </p:nvSpPr>
          <p:spPr>
            <a:xfrm>
              <a:off x="8623805" y="3602509"/>
              <a:ext cx="2895985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2400" b="1" dirty="0">
                  <a:solidFill>
                    <a:schemeClr val="tx2"/>
                  </a:solidFill>
                  <a:latin typeface="DINPro-Black" panose="02000503030000020004" pitchFamily="2" charset="0"/>
                  <a:cs typeface="Arial Black" charset="0"/>
                </a:rPr>
                <a:t>товариществ</a:t>
              </a:r>
              <a:endParaRPr lang="de-DE" sz="2400" b="1" dirty="0">
                <a:solidFill>
                  <a:schemeClr val="tx2"/>
                </a:solidFill>
                <a:latin typeface="DINPro-Black" panose="02000503030000020004" pitchFamily="2" charset="0"/>
                <a:cs typeface="Arial Black" charset="0"/>
              </a:endParaRPr>
            </a:p>
          </p:txBody>
        </p:sp>
      </p:grpSp>
      <p:grpSp>
        <p:nvGrpSpPr>
          <p:cNvPr id="9" name="Gruppieren 8"/>
          <p:cNvGrpSpPr/>
          <p:nvPr/>
        </p:nvGrpSpPr>
        <p:grpSpPr>
          <a:xfrm>
            <a:off x="7845718" y="857214"/>
            <a:ext cx="3417463" cy="1532435"/>
            <a:chOff x="449468" y="4343007"/>
            <a:chExt cx="2933529" cy="1532435"/>
          </a:xfrm>
        </p:grpSpPr>
        <p:sp>
          <p:nvSpPr>
            <p:cNvPr id="296" name="Textfeld 295"/>
            <p:cNvSpPr txBox="1"/>
            <p:nvPr/>
          </p:nvSpPr>
          <p:spPr>
            <a:xfrm>
              <a:off x="449468" y="4343007"/>
              <a:ext cx="1078302" cy="8309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5400" b="1" dirty="0">
                  <a:solidFill>
                    <a:schemeClr val="bg2"/>
                  </a:solidFill>
                  <a:latin typeface="DINPro-Black" panose="02000503030000020004" pitchFamily="2" charset="0"/>
                  <a:ea typeface="Arial Black" charset="0"/>
                  <a:cs typeface="Arial Black" charset="0"/>
                </a:rPr>
                <a:t>12</a:t>
              </a:r>
              <a:endParaRPr lang="de-DE" sz="2800" b="1" dirty="0">
                <a:solidFill>
                  <a:schemeClr val="bg2"/>
                </a:solidFill>
                <a:latin typeface="DINPro-Black" panose="02000503030000020004" pitchFamily="2" charset="0"/>
                <a:ea typeface="Arial Black" charset="0"/>
                <a:cs typeface="Arial Black" charset="0"/>
              </a:endParaRPr>
            </a:p>
          </p:txBody>
        </p:sp>
        <p:sp>
          <p:nvSpPr>
            <p:cNvPr id="297" name="Textfeld 296"/>
            <p:cNvSpPr txBox="1"/>
            <p:nvPr/>
          </p:nvSpPr>
          <p:spPr>
            <a:xfrm>
              <a:off x="487012" y="5136778"/>
              <a:ext cx="2895985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2400" b="1" dirty="0">
                  <a:solidFill>
                    <a:schemeClr val="tx2"/>
                  </a:solidFill>
                  <a:latin typeface="DINPro-Black" panose="02000503030000020004" pitchFamily="2" charset="0"/>
                  <a:ea typeface="Arial Black" charset="0"/>
                  <a:cs typeface="Arial Black" charset="0"/>
                </a:rPr>
                <a:t>объединений на уровне федеральных земель</a:t>
              </a:r>
              <a:endParaRPr lang="de-DE" sz="1100" b="1" dirty="0">
                <a:solidFill>
                  <a:schemeClr val="tx2"/>
                </a:solidFill>
                <a:latin typeface="DINPro-Black" panose="02000503030000020004" pitchFamily="2" charset="0"/>
                <a:ea typeface="Arial Black" charset="0"/>
                <a:cs typeface="Arial Black" charset="0"/>
              </a:endParaRP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1115428" y="700648"/>
            <a:ext cx="3433990" cy="1162026"/>
            <a:chOff x="400633" y="1027722"/>
            <a:chExt cx="3433990" cy="1162026"/>
          </a:xfrm>
        </p:grpSpPr>
        <p:sp>
          <p:nvSpPr>
            <p:cNvPr id="298" name="Textfeld 297"/>
            <p:cNvSpPr txBox="1"/>
            <p:nvPr/>
          </p:nvSpPr>
          <p:spPr>
            <a:xfrm>
              <a:off x="400633" y="1027722"/>
              <a:ext cx="3433990" cy="8309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5400" b="1" dirty="0">
                  <a:solidFill>
                    <a:schemeClr val="bg2"/>
                  </a:solidFill>
                  <a:latin typeface="DINPro-Black" panose="02000503030000020004" pitchFamily="2" charset="0"/>
                  <a:ea typeface="Arial Black" charset="0"/>
                  <a:cs typeface="Arial Black" charset="0"/>
                </a:rPr>
                <a:t>190.000</a:t>
              </a:r>
              <a:endParaRPr lang="de-DE" sz="2400" b="1" dirty="0">
                <a:solidFill>
                  <a:schemeClr val="bg2"/>
                </a:solidFill>
                <a:latin typeface="DINPro-Black" panose="02000503030000020004" pitchFamily="2" charset="0"/>
                <a:ea typeface="Arial Black" charset="0"/>
                <a:cs typeface="Arial Black" charset="0"/>
              </a:endParaRPr>
            </a:p>
          </p:txBody>
        </p:sp>
        <p:sp>
          <p:nvSpPr>
            <p:cNvPr id="299" name="Textfeld 298"/>
            <p:cNvSpPr txBox="1"/>
            <p:nvPr/>
          </p:nvSpPr>
          <p:spPr>
            <a:xfrm>
              <a:off x="473611" y="1820416"/>
              <a:ext cx="2895985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2400" b="1" dirty="0">
                  <a:solidFill>
                    <a:schemeClr val="tx2"/>
                  </a:solidFill>
                  <a:latin typeface="DINPro-Black" panose="02000503030000020004" pitchFamily="2" charset="0"/>
                  <a:ea typeface="Arial Black" charset="0"/>
                  <a:cs typeface="Arial Black" charset="0"/>
                </a:rPr>
                <a:t>членов</a:t>
              </a:r>
              <a:endParaRPr lang="de-DE" sz="1100" b="1" dirty="0">
                <a:solidFill>
                  <a:schemeClr val="tx2"/>
                </a:solidFill>
                <a:latin typeface="DINPro-Black" panose="02000503030000020004" pitchFamily="2" charset="0"/>
                <a:ea typeface="Arial Black" charset="0"/>
                <a:cs typeface="Arial Black" charset="0"/>
              </a:endParaRPr>
            </a:p>
          </p:txBody>
        </p: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72DD9FA5-35E4-104A-BCEB-D81B8607F21C}"/>
              </a:ext>
            </a:extLst>
          </p:cNvPr>
          <p:cNvGrpSpPr/>
          <p:nvPr/>
        </p:nvGrpSpPr>
        <p:grpSpPr>
          <a:xfrm>
            <a:off x="3500513" y="228600"/>
            <a:ext cx="4439763" cy="6013324"/>
            <a:chOff x="3500513" y="228600"/>
            <a:chExt cx="4439763" cy="6013324"/>
          </a:xfrm>
        </p:grpSpPr>
        <p:sp>
          <p:nvSpPr>
            <p:cNvPr id="16" name="Hamburg"/>
            <p:cNvSpPr>
              <a:spLocks noEditPoints="1"/>
            </p:cNvSpPr>
            <p:nvPr>
              <p:custDataLst>
                <p:tags r:id="rId1"/>
              </p:custDataLst>
            </p:nvPr>
          </p:nvSpPr>
          <p:spPr bwMode="gray">
            <a:xfrm>
              <a:off x="4790977" y="1058164"/>
              <a:ext cx="896043" cy="469412"/>
            </a:xfrm>
            <a:custGeom>
              <a:avLst/>
              <a:gdLst>
                <a:gd name="T0" fmla="*/ 1125 w 1169"/>
                <a:gd name="T1" fmla="*/ 541 h 613"/>
                <a:gd name="T2" fmla="*/ 1104 w 1169"/>
                <a:gd name="T3" fmla="*/ 491 h 613"/>
                <a:gd name="T4" fmla="*/ 1041 w 1169"/>
                <a:gd name="T5" fmla="*/ 479 h 613"/>
                <a:gd name="T6" fmla="*/ 1035 w 1169"/>
                <a:gd name="T7" fmla="*/ 446 h 613"/>
                <a:gd name="T8" fmla="*/ 1090 w 1169"/>
                <a:gd name="T9" fmla="*/ 417 h 613"/>
                <a:gd name="T10" fmla="*/ 1088 w 1169"/>
                <a:gd name="T11" fmla="*/ 373 h 613"/>
                <a:gd name="T12" fmla="*/ 1065 w 1169"/>
                <a:gd name="T13" fmla="*/ 351 h 613"/>
                <a:gd name="T14" fmla="*/ 1095 w 1169"/>
                <a:gd name="T15" fmla="*/ 282 h 613"/>
                <a:gd name="T16" fmla="*/ 1065 w 1169"/>
                <a:gd name="T17" fmla="*/ 270 h 613"/>
                <a:gd name="T18" fmla="*/ 1002 w 1169"/>
                <a:gd name="T19" fmla="*/ 321 h 613"/>
                <a:gd name="T20" fmla="*/ 963 w 1169"/>
                <a:gd name="T21" fmla="*/ 319 h 613"/>
                <a:gd name="T22" fmla="*/ 967 w 1169"/>
                <a:gd name="T23" fmla="*/ 354 h 613"/>
                <a:gd name="T24" fmla="*/ 910 w 1169"/>
                <a:gd name="T25" fmla="*/ 354 h 613"/>
                <a:gd name="T26" fmla="*/ 886 w 1169"/>
                <a:gd name="T27" fmla="*/ 389 h 613"/>
                <a:gd name="T28" fmla="*/ 815 w 1169"/>
                <a:gd name="T29" fmla="*/ 374 h 613"/>
                <a:gd name="T30" fmla="*/ 724 w 1169"/>
                <a:gd name="T31" fmla="*/ 410 h 613"/>
                <a:gd name="T32" fmla="*/ 834 w 1169"/>
                <a:gd name="T33" fmla="*/ 463 h 613"/>
                <a:gd name="T34" fmla="*/ 751 w 1169"/>
                <a:gd name="T35" fmla="*/ 456 h 613"/>
                <a:gd name="T36" fmla="*/ 844 w 1169"/>
                <a:gd name="T37" fmla="*/ 537 h 613"/>
                <a:gd name="T38" fmla="*/ 910 w 1169"/>
                <a:gd name="T39" fmla="*/ 593 h 613"/>
                <a:gd name="T40" fmla="*/ 976 w 1169"/>
                <a:gd name="T41" fmla="*/ 585 h 613"/>
                <a:gd name="T42" fmla="*/ 1007 w 1169"/>
                <a:gd name="T43" fmla="*/ 548 h 613"/>
                <a:gd name="T44" fmla="*/ 1076 w 1169"/>
                <a:gd name="T45" fmla="*/ 613 h 613"/>
                <a:gd name="T46" fmla="*/ 1167 w 1169"/>
                <a:gd name="T47" fmla="*/ 576 h 613"/>
                <a:gd name="T48" fmla="*/ 1169 w 1169"/>
                <a:gd name="T49" fmla="*/ 542 h 613"/>
                <a:gd name="T50" fmla="*/ 1125 w 1169"/>
                <a:gd name="T51" fmla="*/ 541 h 613"/>
                <a:gd name="T52" fmla="*/ 22 w 1169"/>
                <a:gd name="T53" fmla="*/ 16 h 613"/>
                <a:gd name="T54" fmla="*/ 59 w 1169"/>
                <a:gd name="T55" fmla="*/ 30 h 613"/>
                <a:gd name="T56" fmla="*/ 22 w 1169"/>
                <a:gd name="T57" fmla="*/ 16 h 613"/>
                <a:gd name="T58" fmla="*/ 81 w 1169"/>
                <a:gd name="T59" fmla="*/ 56 h 613"/>
                <a:gd name="T60" fmla="*/ 80 w 1169"/>
                <a:gd name="T61" fmla="*/ 76 h 613"/>
                <a:gd name="T62" fmla="*/ 81 w 1169"/>
                <a:gd name="T63" fmla="*/ 56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69" h="613">
                  <a:moveTo>
                    <a:pt x="1125" y="541"/>
                  </a:moveTo>
                  <a:cubicBezTo>
                    <a:pt x="1104" y="491"/>
                    <a:pt x="1104" y="491"/>
                    <a:pt x="1104" y="491"/>
                  </a:cubicBezTo>
                  <a:cubicBezTo>
                    <a:pt x="1041" y="479"/>
                    <a:pt x="1041" y="479"/>
                    <a:pt x="1041" y="479"/>
                  </a:cubicBezTo>
                  <a:cubicBezTo>
                    <a:pt x="1035" y="446"/>
                    <a:pt x="1035" y="446"/>
                    <a:pt x="1035" y="446"/>
                  </a:cubicBezTo>
                  <a:cubicBezTo>
                    <a:pt x="1090" y="417"/>
                    <a:pt x="1090" y="417"/>
                    <a:pt x="1090" y="417"/>
                  </a:cubicBezTo>
                  <a:cubicBezTo>
                    <a:pt x="1088" y="373"/>
                    <a:pt x="1088" y="373"/>
                    <a:pt x="1088" y="373"/>
                  </a:cubicBezTo>
                  <a:cubicBezTo>
                    <a:pt x="1065" y="351"/>
                    <a:pt x="1065" y="351"/>
                    <a:pt x="1065" y="351"/>
                  </a:cubicBezTo>
                  <a:cubicBezTo>
                    <a:pt x="1095" y="282"/>
                    <a:pt x="1095" y="282"/>
                    <a:pt x="1095" y="282"/>
                  </a:cubicBezTo>
                  <a:cubicBezTo>
                    <a:pt x="1065" y="270"/>
                    <a:pt x="1065" y="270"/>
                    <a:pt x="1065" y="270"/>
                  </a:cubicBezTo>
                  <a:cubicBezTo>
                    <a:pt x="1002" y="321"/>
                    <a:pt x="1002" y="321"/>
                    <a:pt x="1002" y="321"/>
                  </a:cubicBezTo>
                  <a:cubicBezTo>
                    <a:pt x="963" y="319"/>
                    <a:pt x="963" y="319"/>
                    <a:pt x="963" y="319"/>
                  </a:cubicBezTo>
                  <a:cubicBezTo>
                    <a:pt x="967" y="354"/>
                    <a:pt x="967" y="354"/>
                    <a:pt x="967" y="354"/>
                  </a:cubicBezTo>
                  <a:cubicBezTo>
                    <a:pt x="910" y="354"/>
                    <a:pt x="910" y="354"/>
                    <a:pt x="910" y="354"/>
                  </a:cubicBezTo>
                  <a:cubicBezTo>
                    <a:pt x="886" y="389"/>
                    <a:pt x="886" y="389"/>
                    <a:pt x="886" y="389"/>
                  </a:cubicBezTo>
                  <a:cubicBezTo>
                    <a:pt x="815" y="374"/>
                    <a:pt x="815" y="374"/>
                    <a:pt x="815" y="374"/>
                  </a:cubicBezTo>
                  <a:cubicBezTo>
                    <a:pt x="724" y="410"/>
                    <a:pt x="724" y="410"/>
                    <a:pt x="724" y="410"/>
                  </a:cubicBezTo>
                  <a:cubicBezTo>
                    <a:pt x="759" y="445"/>
                    <a:pt x="797" y="469"/>
                    <a:pt x="834" y="463"/>
                  </a:cubicBezTo>
                  <a:cubicBezTo>
                    <a:pt x="804" y="468"/>
                    <a:pt x="776" y="465"/>
                    <a:pt x="751" y="456"/>
                  </a:cubicBezTo>
                  <a:cubicBezTo>
                    <a:pt x="844" y="537"/>
                    <a:pt x="844" y="537"/>
                    <a:pt x="844" y="537"/>
                  </a:cubicBezTo>
                  <a:cubicBezTo>
                    <a:pt x="910" y="593"/>
                    <a:pt x="910" y="593"/>
                    <a:pt x="910" y="593"/>
                  </a:cubicBezTo>
                  <a:cubicBezTo>
                    <a:pt x="976" y="585"/>
                    <a:pt x="976" y="585"/>
                    <a:pt x="976" y="585"/>
                  </a:cubicBezTo>
                  <a:cubicBezTo>
                    <a:pt x="976" y="585"/>
                    <a:pt x="972" y="542"/>
                    <a:pt x="1007" y="548"/>
                  </a:cubicBezTo>
                  <a:cubicBezTo>
                    <a:pt x="1042" y="553"/>
                    <a:pt x="1076" y="613"/>
                    <a:pt x="1076" y="613"/>
                  </a:cubicBezTo>
                  <a:cubicBezTo>
                    <a:pt x="1167" y="576"/>
                    <a:pt x="1167" y="576"/>
                    <a:pt x="1167" y="576"/>
                  </a:cubicBezTo>
                  <a:cubicBezTo>
                    <a:pt x="1169" y="542"/>
                    <a:pt x="1169" y="542"/>
                    <a:pt x="1169" y="542"/>
                  </a:cubicBezTo>
                  <a:lnTo>
                    <a:pt x="1125" y="541"/>
                  </a:lnTo>
                  <a:close/>
                  <a:moveTo>
                    <a:pt x="22" y="16"/>
                  </a:moveTo>
                  <a:cubicBezTo>
                    <a:pt x="0" y="0"/>
                    <a:pt x="39" y="88"/>
                    <a:pt x="59" y="30"/>
                  </a:cubicBezTo>
                  <a:cubicBezTo>
                    <a:pt x="65" y="12"/>
                    <a:pt x="27" y="14"/>
                    <a:pt x="22" y="16"/>
                  </a:cubicBezTo>
                  <a:close/>
                  <a:moveTo>
                    <a:pt x="81" y="56"/>
                  </a:moveTo>
                  <a:cubicBezTo>
                    <a:pt x="53" y="56"/>
                    <a:pt x="57" y="78"/>
                    <a:pt x="80" y="76"/>
                  </a:cubicBezTo>
                  <a:cubicBezTo>
                    <a:pt x="102" y="75"/>
                    <a:pt x="81" y="56"/>
                    <a:pt x="81" y="56"/>
                  </a:cubicBezTo>
                  <a:close/>
                </a:path>
              </a:pathLst>
            </a:custGeom>
            <a:solidFill>
              <a:schemeClr val="accent6"/>
            </a:solidFill>
            <a:ln w="6350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de-DE" dirty="0">
                <a:solidFill>
                  <a:schemeClr val="bg1"/>
                </a:solidFill>
              </a:endParaRPr>
            </a:p>
          </p:txBody>
        </p:sp>
        <p:sp>
          <p:nvSpPr>
            <p:cNvPr id="17" name="Brandenburg"/>
            <p:cNvSpPr>
              <a:spLocks noEditPoints="1"/>
            </p:cNvSpPr>
            <p:nvPr/>
          </p:nvSpPr>
          <p:spPr bwMode="gray">
            <a:xfrm>
              <a:off x="6109759" y="1375826"/>
              <a:ext cx="1670726" cy="1681384"/>
            </a:xfrm>
            <a:custGeom>
              <a:avLst/>
              <a:gdLst>
                <a:gd name="T0" fmla="*/ 1702 w 2181"/>
                <a:gd name="T1" fmla="*/ 280 h 2192"/>
                <a:gd name="T2" fmla="*/ 1689 w 2181"/>
                <a:gd name="T3" fmla="*/ 130 h 2192"/>
                <a:gd name="T4" fmla="*/ 1557 w 2181"/>
                <a:gd name="T5" fmla="*/ 29 h 2192"/>
                <a:gd name="T6" fmla="*/ 1462 w 2181"/>
                <a:gd name="T7" fmla="*/ 77 h 2192"/>
                <a:gd name="T8" fmla="*/ 1356 w 2181"/>
                <a:gd name="T9" fmla="*/ 143 h 2192"/>
                <a:gd name="T10" fmla="*/ 1105 w 2181"/>
                <a:gd name="T11" fmla="*/ 344 h 2192"/>
                <a:gd name="T12" fmla="*/ 907 w 2181"/>
                <a:gd name="T13" fmla="*/ 352 h 2192"/>
                <a:gd name="T14" fmla="*/ 603 w 2181"/>
                <a:gd name="T15" fmla="*/ 254 h 2192"/>
                <a:gd name="T16" fmla="*/ 465 w 2181"/>
                <a:gd name="T17" fmla="*/ 227 h 2192"/>
                <a:gd name="T18" fmla="*/ 224 w 2181"/>
                <a:gd name="T19" fmla="*/ 341 h 2192"/>
                <a:gd name="T20" fmla="*/ 10 w 2181"/>
                <a:gd name="T21" fmla="*/ 465 h 2192"/>
                <a:gd name="T22" fmla="*/ 42 w 2181"/>
                <a:gd name="T23" fmla="*/ 529 h 2192"/>
                <a:gd name="T24" fmla="*/ 196 w 2181"/>
                <a:gd name="T25" fmla="*/ 559 h 2192"/>
                <a:gd name="T26" fmla="*/ 354 w 2181"/>
                <a:gd name="T27" fmla="*/ 611 h 2192"/>
                <a:gd name="T28" fmla="*/ 455 w 2181"/>
                <a:gd name="T29" fmla="*/ 705 h 2192"/>
                <a:gd name="T30" fmla="*/ 593 w 2181"/>
                <a:gd name="T31" fmla="*/ 714 h 2192"/>
                <a:gd name="T32" fmla="*/ 552 w 2181"/>
                <a:gd name="T33" fmla="*/ 1038 h 2192"/>
                <a:gd name="T34" fmla="*/ 646 w 2181"/>
                <a:gd name="T35" fmla="*/ 1066 h 2192"/>
                <a:gd name="T36" fmla="*/ 609 w 2181"/>
                <a:gd name="T37" fmla="*/ 1455 h 2192"/>
                <a:gd name="T38" fmla="*/ 769 w 2181"/>
                <a:gd name="T39" fmla="*/ 1537 h 2192"/>
                <a:gd name="T40" fmla="*/ 1054 w 2181"/>
                <a:gd name="T41" fmla="*/ 1622 h 2192"/>
                <a:gd name="T42" fmla="*/ 1192 w 2181"/>
                <a:gd name="T43" fmla="*/ 1691 h 2192"/>
                <a:gd name="T44" fmla="*/ 1202 w 2181"/>
                <a:gd name="T45" fmla="*/ 1866 h 2192"/>
                <a:gd name="T46" fmla="*/ 1201 w 2181"/>
                <a:gd name="T47" fmla="*/ 1965 h 2192"/>
                <a:gd name="T48" fmla="*/ 1231 w 2181"/>
                <a:gd name="T49" fmla="*/ 2166 h 2192"/>
                <a:gd name="T50" fmla="*/ 1358 w 2181"/>
                <a:gd name="T51" fmla="*/ 2120 h 2192"/>
                <a:gd name="T52" fmla="*/ 1718 w 2181"/>
                <a:gd name="T53" fmla="*/ 2171 h 2192"/>
                <a:gd name="T54" fmla="*/ 1829 w 2181"/>
                <a:gd name="T55" fmla="*/ 1997 h 2192"/>
                <a:gd name="T56" fmla="*/ 1957 w 2181"/>
                <a:gd name="T57" fmla="*/ 1999 h 2192"/>
                <a:gd name="T58" fmla="*/ 2114 w 2181"/>
                <a:gd name="T59" fmla="*/ 1974 h 2192"/>
                <a:gd name="T60" fmla="*/ 2169 w 2181"/>
                <a:gd name="T61" fmla="*/ 1879 h 2192"/>
                <a:gd name="T62" fmla="*/ 2100 w 2181"/>
                <a:gd name="T63" fmla="*/ 1440 h 2192"/>
                <a:gd name="T64" fmla="*/ 2004 w 2181"/>
                <a:gd name="T65" fmla="*/ 1160 h 2192"/>
                <a:gd name="T66" fmla="*/ 1716 w 2181"/>
                <a:gd name="T67" fmla="*/ 718 h 2192"/>
                <a:gd name="T68" fmla="*/ 1856 w 2181"/>
                <a:gd name="T69" fmla="*/ 467 h 2192"/>
                <a:gd name="T70" fmla="*/ 1797 w 2181"/>
                <a:gd name="T71" fmla="*/ 249 h 2192"/>
                <a:gd name="T72" fmla="*/ 1517 w 2181"/>
                <a:gd name="T73" fmla="*/ 1159 h 2192"/>
                <a:gd name="T74" fmla="*/ 1454 w 2181"/>
                <a:gd name="T75" fmla="*/ 1167 h 2192"/>
                <a:gd name="T76" fmla="*/ 1327 w 2181"/>
                <a:gd name="T77" fmla="*/ 1169 h 2192"/>
                <a:gd name="T78" fmla="*/ 1146 w 2181"/>
                <a:gd name="T79" fmla="*/ 1175 h 2192"/>
                <a:gd name="T80" fmla="*/ 1165 w 2181"/>
                <a:gd name="T81" fmla="*/ 1058 h 2192"/>
                <a:gd name="T82" fmla="*/ 1152 w 2181"/>
                <a:gd name="T83" fmla="*/ 1009 h 2192"/>
                <a:gd name="T84" fmla="*/ 1165 w 2181"/>
                <a:gd name="T85" fmla="*/ 964 h 2192"/>
                <a:gd name="T86" fmla="*/ 1300 w 2181"/>
                <a:gd name="T87" fmla="*/ 919 h 2192"/>
                <a:gd name="T88" fmla="*/ 1349 w 2181"/>
                <a:gd name="T89" fmla="*/ 888 h 2192"/>
                <a:gd name="T90" fmla="*/ 1370 w 2181"/>
                <a:gd name="T91" fmla="*/ 949 h 2192"/>
                <a:gd name="T92" fmla="*/ 1439 w 2181"/>
                <a:gd name="T93" fmla="*/ 1005 h 2192"/>
                <a:gd name="T94" fmla="*/ 1458 w 2181"/>
                <a:gd name="T95" fmla="*/ 1077 h 2192"/>
                <a:gd name="T96" fmla="*/ 1517 w 2181"/>
                <a:gd name="T97" fmla="*/ 1159 h 2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181" h="2192">
                  <a:moveTo>
                    <a:pt x="1808" y="286"/>
                  </a:moveTo>
                  <a:cubicBezTo>
                    <a:pt x="1702" y="280"/>
                    <a:pt x="1702" y="280"/>
                    <a:pt x="1702" y="280"/>
                  </a:cubicBezTo>
                  <a:cubicBezTo>
                    <a:pt x="1771" y="103"/>
                    <a:pt x="1771" y="103"/>
                    <a:pt x="1771" y="103"/>
                  </a:cubicBezTo>
                  <a:cubicBezTo>
                    <a:pt x="1689" y="130"/>
                    <a:pt x="1689" y="130"/>
                    <a:pt x="1689" y="130"/>
                  </a:cubicBezTo>
                  <a:cubicBezTo>
                    <a:pt x="1602" y="119"/>
                    <a:pt x="1602" y="119"/>
                    <a:pt x="1602" y="119"/>
                  </a:cubicBezTo>
                  <a:cubicBezTo>
                    <a:pt x="1557" y="29"/>
                    <a:pt x="1557" y="29"/>
                    <a:pt x="1557" y="29"/>
                  </a:cubicBezTo>
                  <a:cubicBezTo>
                    <a:pt x="1504" y="0"/>
                    <a:pt x="1504" y="0"/>
                    <a:pt x="1504" y="0"/>
                  </a:cubicBezTo>
                  <a:cubicBezTo>
                    <a:pt x="1504" y="0"/>
                    <a:pt x="1496" y="74"/>
                    <a:pt x="1462" y="77"/>
                  </a:cubicBezTo>
                  <a:cubicBezTo>
                    <a:pt x="1427" y="79"/>
                    <a:pt x="1422" y="138"/>
                    <a:pt x="1422" y="138"/>
                  </a:cubicBezTo>
                  <a:cubicBezTo>
                    <a:pt x="1356" y="143"/>
                    <a:pt x="1356" y="143"/>
                    <a:pt x="1356" y="143"/>
                  </a:cubicBezTo>
                  <a:cubicBezTo>
                    <a:pt x="1324" y="275"/>
                    <a:pt x="1324" y="275"/>
                    <a:pt x="1324" y="275"/>
                  </a:cubicBezTo>
                  <a:cubicBezTo>
                    <a:pt x="1105" y="344"/>
                    <a:pt x="1105" y="344"/>
                    <a:pt x="1105" y="344"/>
                  </a:cubicBezTo>
                  <a:cubicBezTo>
                    <a:pt x="1105" y="344"/>
                    <a:pt x="1086" y="376"/>
                    <a:pt x="1031" y="397"/>
                  </a:cubicBezTo>
                  <a:cubicBezTo>
                    <a:pt x="975" y="418"/>
                    <a:pt x="907" y="352"/>
                    <a:pt x="907" y="352"/>
                  </a:cubicBezTo>
                  <a:cubicBezTo>
                    <a:pt x="756" y="325"/>
                    <a:pt x="756" y="325"/>
                    <a:pt x="756" y="325"/>
                  </a:cubicBezTo>
                  <a:cubicBezTo>
                    <a:pt x="603" y="254"/>
                    <a:pt x="603" y="254"/>
                    <a:pt x="603" y="254"/>
                  </a:cubicBezTo>
                  <a:cubicBezTo>
                    <a:pt x="571" y="225"/>
                    <a:pt x="571" y="225"/>
                    <a:pt x="571" y="225"/>
                  </a:cubicBezTo>
                  <a:cubicBezTo>
                    <a:pt x="571" y="225"/>
                    <a:pt x="510" y="212"/>
                    <a:pt x="465" y="227"/>
                  </a:cubicBezTo>
                  <a:cubicBezTo>
                    <a:pt x="420" y="243"/>
                    <a:pt x="431" y="307"/>
                    <a:pt x="386" y="333"/>
                  </a:cubicBezTo>
                  <a:cubicBezTo>
                    <a:pt x="341" y="360"/>
                    <a:pt x="291" y="331"/>
                    <a:pt x="224" y="341"/>
                  </a:cubicBezTo>
                  <a:cubicBezTo>
                    <a:pt x="158" y="352"/>
                    <a:pt x="177" y="450"/>
                    <a:pt x="177" y="450"/>
                  </a:cubicBezTo>
                  <a:cubicBezTo>
                    <a:pt x="10" y="465"/>
                    <a:pt x="10" y="465"/>
                    <a:pt x="10" y="465"/>
                  </a:cubicBezTo>
                  <a:cubicBezTo>
                    <a:pt x="0" y="505"/>
                    <a:pt x="0" y="505"/>
                    <a:pt x="0" y="505"/>
                  </a:cubicBezTo>
                  <a:cubicBezTo>
                    <a:pt x="42" y="529"/>
                    <a:pt x="42" y="529"/>
                    <a:pt x="42" y="529"/>
                  </a:cubicBezTo>
                  <a:cubicBezTo>
                    <a:pt x="156" y="521"/>
                    <a:pt x="156" y="521"/>
                    <a:pt x="156" y="521"/>
                  </a:cubicBezTo>
                  <a:cubicBezTo>
                    <a:pt x="196" y="559"/>
                    <a:pt x="196" y="559"/>
                    <a:pt x="196" y="559"/>
                  </a:cubicBezTo>
                  <a:cubicBezTo>
                    <a:pt x="232" y="532"/>
                    <a:pt x="232" y="532"/>
                    <a:pt x="232" y="532"/>
                  </a:cubicBezTo>
                  <a:cubicBezTo>
                    <a:pt x="354" y="611"/>
                    <a:pt x="354" y="611"/>
                    <a:pt x="354" y="611"/>
                  </a:cubicBezTo>
                  <a:cubicBezTo>
                    <a:pt x="354" y="661"/>
                    <a:pt x="354" y="661"/>
                    <a:pt x="354" y="661"/>
                  </a:cubicBezTo>
                  <a:cubicBezTo>
                    <a:pt x="455" y="705"/>
                    <a:pt x="455" y="705"/>
                    <a:pt x="455" y="705"/>
                  </a:cubicBezTo>
                  <a:cubicBezTo>
                    <a:pt x="517" y="677"/>
                    <a:pt x="517" y="677"/>
                    <a:pt x="517" y="677"/>
                  </a:cubicBezTo>
                  <a:cubicBezTo>
                    <a:pt x="593" y="714"/>
                    <a:pt x="593" y="714"/>
                    <a:pt x="593" y="714"/>
                  </a:cubicBezTo>
                  <a:cubicBezTo>
                    <a:pt x="587" y="953"/>
                    <a:pt x="587" y="953"/>
                    <a:pt x="587" y="953"/>
                  </a:cubicBezTo>
                  <a:cubicBezTo>
                    <a:pt x="552" y="1038"/>
                    <a:pt x="552" y="1038"/>
                    <a:pt x="552" y="1038"/>
                  </a:cubicBezTo>
                  <a:cubicBezTo>
                    <a:pt x="565" y="1072"/>
                    <a:pt x="565" y="1072"/>
                    <a:pt x="565" y="1072"/>
                  </a:cubicBezTo>
                  <a:cubicBezTo>
                    <a:pt x="646" y="1066"/>
                    <a:pt x="646" y="1066"/>
                    <a:pt x="646" y="1066"/>
                  </a:cubicBezTo>
                  <a:cubicBezTo>
                    <a:pt x="646" y="1066"/>
                    <a:pt x="662" y="1192"/>
                    <a:pt x="643" y="1236"/>
                  </a:cubicBezTo>
                  <a:cubicBezTo>
                    <a:pt x="624" y="1279"/>
                    <a:pt x="555" y="1405"/>
                    <a:pt x="609" y="1455"/>
                  </a:cubicBezTo>
                  <a:cubicBezTo>
                    <a:pt x="662" y="1505"/>
                    <a:pt x="731" y="1549"/>
                    <a:pt x="731" y="1549"/>
                  </a:cubicBezTo>
                  <a:cubicBezTo>
                    <a:pt x="769" y="1537"/>
                    <a:pt x="769" y="1537"/>
                    <a:pt x="769" y="1537"/>
                  </a:cubicBezTo>
                  <a:cubicBezTo>
                    <a:pt x="957" y="1612"/>
                    <a:pt x="957" y="1612"/>
                    <a:pt x="957" y="1612"/>
                  </a:cubicBezTo>
                  <a:cubicBezTo>
                    <a:pt x="1054" y="1622"/>
                    <a:pt x="1054" y="1622"/>
                    <a:pt x="1054" y="1622"/>
                  </a:cubicBezTo>
                  <a:cubicBezTo>
                    <a:pt x="1155" y="1688"/>
                    <a:pt x="1155" y="1688"/>
                    <a:pt x="1155" y="1688"/>
                  </a:cubicBezTo>
                  <a:cubicBezTo>
                    <a:pt x="1192" y="1691"/>
                    <a:pt x="1192" y="1691"/>
                    <a:pt x="1192" y="1691"/>
                  </a:cubicBezTo>
                  <a:cubicBezTo>
                    <a:pt x="1189" y="1807"/>
                    <a:pt x="1189" y="1807"/>
                    <a:pt x="1189" y="1807"/>
                  </a:cubicBezTo>
                  <a:cubicBezTo>
                    <a:pt x="1202" y="1866"/>
                    <a:pt x="1202" y="1866"/>
                    <a:pt x="1202" y="1866"/>
                  </a:cubicBezTo>
                  <a:cubicBezTo>
                    <a:pt x="1124" y="1946"/>
                    <a:pt x="1124" y="1946"/>
                    <a:pt x="1124" y="1946"/>
                  </a:cubicBezTo>
                  <a:cubicBezTo>
                    <a:pt x="1201" y="1965"/>
                    <a:pt x="1201" y="1965"/>
                    <a:pt x="1201" y="1965"/>
                  </a:cubicBezTo>
                  <a:cubicBezTo>
                    <a:pt x="1235" y="2115"/>
                    <a:pt x="1235" y="2115"/>
                    <a:pt x="1235" y="2115"/>
                  </a:cubicBezTo>
                  <a:cubicBezTo>
                    <a:pt x="1235" y="2115"/>
                    <a:pt x="1187" y="2141"/>
                    <a:pt x="1231" y="2166"/>
                  </a:cubicBezTo>
                  <a:cubicBezTo>
                    <a:pt x="1275" y="2192"/>
                    <a:pt x="1310" y="2113"/>
                    <a:pt x="1310" y="2113"/>
                  </a:cubicBezTo>
                  <a:cubicBezTo>
                    <a:pt x="1358" y="2120"/>
                    <a:pt x="1358" y="2120"/>
                    <a:pt x="1358" y="2120"/>
                  </a:cubicBezTo>
                  <a:cubicBezTo>
                    <a:pt x="1463" y="2189"/>
                    <a:pt x="1463" y="2189"/>
                    <a:pt x="1463" y="2189"/>
                  </a:cubicBezTo>
                  <a:cubicBezTo>
                    <a:pt x="1718" y="2171"/>
                    <a:pt x="1718" y="2171"/>
                    <a:pt x="1718" y="2171"/>
                  </a:cubicBezTo>
                  <a:cubicBezTo>
                    <a:pt x="1748" y="2074"/>
                    <a:pt x="1748" y="2074"/>
                    <a:pt x="1748" y="2074"/>
                  </a:cubicBezTo>
                  <a:cubicBezTo>
                    <a:pt x="1748" y="2074"/>
                    <a:pt x="1776" y="1997"/>
                    <a:pt x="1829" y="1997"/>
                  </a:cubicBezTo>
                  <a:cubicBezTo>
                    <a:pt x="1882" y="1997"/>
                    <a:pt x="1931" y="2029"/>
                    <a:pt x="1931" y="2029"/>
                  </a:cubicBezTo>
                  <a:cubicBezTo>
                    <a:pt x="1957" y="1999"/>
                    <a:pt x="1957" y="1999"/>
                    <a:pt x="1957" y="1999"/>
                  </a:cubicBezTo>
                  <a:cubicBezTo>
                    <a:pt x="2089" y="1951"/>
                    <a:pt x="2089" y="1951"/>
                    <a:pt x="2089" y="1951"/>
                  </a:cubicBezTo>
                  <a:cubicBezTo>
                    <a:pt x="2114" y="1974"/>
                    <a:pt x="2114" y="1974"/>
                    <a:pt x="2114" y="1974"/>
                  </a:cubicBezTo>
                  <a:cubicBezTo>
                    <a:pt x="2153" y="1962"/>
                    <a:pt x="2153" y="1962"/>
                    <a:pt x="2153" y="1962"/>
                  </a:cubicBezTo>
                  <a:cubicBezTo>
                    <a:pt x="2162" y="1935"/>
                    <a:pt x="2181" y="1904"/>
                    <a:pt x="2169" y="1879"/>
                  </a:cubicBezTo>
                  <a:cubicBezTo>
                    <a:pt x="2128" y="1798"/>
                    <a:pt x="2022" y="1744"/>
                    <a:pt x="2086" y="1658"/>
                  </a:cubicBezTo>
                  <a:cubicBezTo>
                    <a:pt x="2121" y="1610"/>
                    <a:pt x="2179" y="1456"/>
                    <a:pt x="2100" y="1440"/>
                  </a:cubicBezTo>
                  <a:cubicBezTo>
                    <a:pt x="2077" y="1436"/>
                    <a:pt x="2132" y="1295"/>
                    <a:pt x="2084" y="1277"/>
                  </a:cubicBezTo>
                  <a:cubicBezTo>
                    <a:pt x="2019" y="1253"/>
                    <a:pt x="2019" y="1225"/>
                    <a:pt x="2004" y="1160"/>
                  </a:cubicBezTo>
                  <a:cubicBezTo>
                    <a:pt x="1988" y="1092"/>
                    <a:pt x="2049" y="1109"/>
                    <a:pt x="2049" y="1054"/>
                  </a:cubicBezTo>
                  <a:cubicBezTo>
                    <a:pt x="2049" y="933"/>
                    <a:pt x="1863" y="724"/>
                    <a:pt x="1716" y="718"/>
                  </a:cubicBezTo>
                  <a:cubicBezTo>
                    <a:pt x="1732" y="682"/>
                    <a:pt x="1723" y="607"/>
                    <a:pt x="1744" y="580"/>
                  </a:cubicBezTo>
                  <a:cubicBezTo>
                    <a:pt x="1779" y="534"/>
                    <a:pt x="1846" y="535"/>
                    <a:pt x="1856" y="467"/>
                  </a:cubicBezTo>
                  <a:cubicBezTo>
                    <a:pt x="1869" y="382"/>
                    <a:pt x="1895" y="298"/>
                    <a:pt x="1869" y="219"/>
                  </a:cubicBezTo>
                  <a:cubicBezTo>
                    <a:pt x="1797" y="249"/>
                    <a:pt x="1797" y="249"/>
                    <a:pt x="1797" y="249"/>
                  </a:cubicBezTo>
                  <a:lnTo>
                    <a:pt x="1808" y="286"/>
                  </a:lnTo>
                  <a:close/>
                  <a:moveTo>
                    <a:pt x="1517" y="1159"/>
                  </a:moveTo>
                  <a:cubicBezTo>
                    <a:pt x="1462" y="1216"/>
                    <a:pt x="1462" y="1216"/>
                    <a:pt x="1462" y="1216"/>
                  </a:cubicBezTo>
                  <a:cubicBezTo>
                    <a:pt x="1454" y="1167"/>
                    <a:pt x="1454" y="1167"/>
                    <a:pt x="1454" y="1167"/>
                  </a:cubicBezTo>
                  <a:cubicBezTo>
                    <a:pt x="1355" y="1140"/>
                    <a:pt x="1355" y="1140"/>
                    <a:pt x="1355" y="1140"/>
                  </a:cubicBezTo>
                  <a:cubicBezTo>
                    <a:pt x="1327" y="1169"/>
                    <a:pt x="1327" y="1169"/>
                    <a:pt x="1327" y="1169"/>
                  </a:cubicBezTo>
                  <a:cubicBezTo>
                    <a:pt x="1259" y="1152"/>
                    <a:pt x="1259" y="1152"/>
                    <a:pt x="1259" y="1152"/>
                  </a:cubicBezTo>
                  <a:cubicBezTo>
                    <a:pt x="1146" y="1175"/>
                    <a:pt x="1146" y="1175"/>
                    <a:pt x="1146" y="1175"/>
                  </a:cubicBezTo>
                  <a:cubicBezTo>
                    <a:pt x="1144" y="1095"/>
                    <a:pt x="1144" y="1095"/>
                    <a:pt x="1144" y="1095"/>
                  </a:cubicBezTo>
                  <a:cubicBezTo>
                    <a:pt x="1165" y="1058"/>
                    <a:pt x="1165" y="1058"/>
                    <a:pt x="1165" y="1058"/>
                  </a:cubicBezTo>
                  <a:cubicBezTo>
                    <a:pt x="1148" y="1042"/>
                    <a:pt x="1148" y="1042"/>
                    <a:pt x="1148" y="1042"/>
                  </a:cubicBezTo>
                  <a:cubicBezTo>
                    <a:pt x="1152" y="1009"/>
                    <a:pt x="1152" y="1009"/>
                    <a:pt x="1152" y="1009"/>
                  </a:cubicBezTo>
                  <a:cubicBezTo>
                    <a:pt x="1165" y="1005"/>
                    <a:pt x="1165" y="1005"/>
                    <a:pt x="1165" y="1005"/>
                  </a:cubicBezTo>
                  <a:cubicBezTo>
                    <a:pt x="1165" y="964"/>
                    <a:pt x="1165" y="964"/>
                    <a:pt x="1165" y="964"/>
                  </a:cubicBezTo>
                  <a:cubicBezTo>
                    <a:pt x="1239" y="904"/>
                    <a:pt x="1239" y="904"/>
                    <a:pt x="1239" y="904"/>
                  </a:cubicBezTo>
                  <a:cubicBezTo>
                    <a:pt x="1300" y="919"/>
                    <a:pt x="1300" y="919"/>
                    <a:pt x="1300" y="919"/>
                  </a:cubicBezTo>
                  <a:cubicBezTo>
                    <a:pt x="1329" y="941"/>
                    <a:pt x="1329" y="941"/>
                    <a:pt x="1329" y="941"/>
                  </a:cubicBezTo>
                  <a:cubicBezTo>
                    <a:pt x="1329" y="941"/>
                    <a:pt x="1339" y="890"/>
                    <a:pt x="1349" y="888"/>
                  </a:cubicBezTo>
                  <a:cubicBezTo>
                    <a:pt x="1359" y="886"/>
                    <a:pt x="1372" y="904"/>
                    <a:pt x="1372" y="904"/>
                  </a:cubicBezTo>
                  <a:cubicBezTo>
                    <a:pt x="1370" y="949"/>
                    <a:pt x="1370" y="949"/>
                    <a:pt x="1370" y="949"/>
                  </a:cubicBezTo>
                  <a:cubicBezTo>
                    <a:pt x="1402" y="964"/>
                    <a:pt x="1402" y="964"/>
                    <a:pt x="1402" y="964"/>
                  </a:cubicBezTo>
                  <a:cubicBezTo>
                    <a:pt x="1439" y="1005"/>
                    <a:pt x="1439" y="1005"/>
                    <a:pt x="1439" y="1005"/>
                  </a:cubicBezTo>
                  <a:cubicBezTo>
                    <a:pt x="1472" y="1013"/>
                    <a:pt x="1472" y="1013"/>
                    <a:pt x="1472" y="1013"/>
                  </a:cubicBezTo>
                  <a:cubicBezTo>
                    <a:pt x="1472" y="1013"/>
                    <a:pt x="1447" y="1062"/>
                    <a:pt x="1458" y="1077"/>
                  </a:cubicBezTo>
                  <a:cubicBezTo>
                    <a:pt x="1470" y="1093"/>
                    <a:pt x="1521" y="1089"/>
                    <a:pt x="1521" y="1089"/>
                  </a:cubicBezTo>
                  <a:lnTo>
                    <a:pt x="1517" y="1159"/>
                  </a:lnTo>
                  <a:close/>
                </a:path>
              </a:pathLst>
            </a:custGeom>
            <a:solidFill>
              <a:schemeClr val="accent6"/>
            </a:solidFill>
            <a:ln w="6350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 dirty="0">
                <a:solidFill>
                  <a:schemeClr val="bg1"/>
                </a:solidFill>
              </a:endParaRPr>
            </a:p>
          </p:txBody>
        </p:sp>
        <p:sp>
          <p:nvSpPr>
            <p:cNvPr id="18" name="Sachsen"/>
            <p:cNvSpPr>
              <a:spLocks/>
            </p:cNvSpPr>
            <p:nvPr/>
          </p:nvSpPr>
          <p:spPr bwMode="gray">
            <a:xfrm>
              <a:off x="6439454" y="2826550"/>
              <a:ext cx="1500822" cy="1189716"/>
            </a:xfrm>
            <a:custGeom>
              <a:avLst/>
              <a:gdLst>
                <a:gd name="T0" fmla="*/ 1658 w 1958"/>
                <a:gd name="T1" fmla="*/ 58 h 1551"/>
                <a:gd name="T2" fmla="*/ 1500 w 1958"/>
                <a:gd name="T3" fmla="*/ 136 h 1551"/>
                <a:gd name="T4" fmla="*/ 1317 w 1958"/>
                <a:gd name="T5" fmla="*/ 181 h 1551"/>
                <a:gd name="T6" fmla="*/ 1032 w 1958"/>
                <a:gd name="T7" fmla="*/ 296 h 1551"/>
                <a:gd name="T8" fmla="*/ 879 w 1958"/>
                <a:gd name="T9" fmla="*/ 220 h 1551"/>
                <a:gd name="T10" fmla="*/ 804 w 1958"/>
                <a:gd name="T11" fmla="*/ 222 h 1551"/>
                <a:gd name="T12" fmla="*/ 654 w 1958"/>
                <a:gd name="T13" fmla="*/ 44 h 1551"/>
                <a:gd name="T14" fmla="*/ 438 w 1958"/>
                <a:gd name="T15" fmla="*/ 72 h 1551"/>
                <a:gd name="T16" fmla="*/ 199 w 1958"/>
                <a:gd name="T17" fmla="*/ 132 h 1551"/>
                <a:gd name="T18" fmla="*/ 178 w 1958"/>
                <a:gd name="T19" fmla="*/ 197 h 1551"/>
                <a:gd name="T20" fmla="*/ 160 w 1958"/>
                <a:gd name="T21" fmla="*/ 315 h 1551"/>
                <a:gd name="T22" fmla="*/ 146 w 1958"/>
                <a:gd name="T23" fmla="*/ 375 h 1551"/>
                <a:gd name="T24" fmla="*/ 204 w 1958"/>
                <a:gd name="T25" fmla="*/ 586 h 1551"/>
                <a:gd name="T26" fmla="*/ 375 w 1958"/>
                <a:gd name="T27" fmla="*/ 647 h 1551"/>
                <a:gd name="T28" fmla="*/ 468 w 1958"/>
                <a:gd name="T29" fmla="*/ 765 h 1551"/>
                <a:gd name="T30" fmla="*/ 215 w 1958"/>
                <a:gd name="T31" fmla="*/ 930 h 1551"/>
                <a:gd name="T32" fmla="*/ 243 w 1958"/>
                <a:gd name="T33" fmla="*/ 1064 h 1551"/>
                <a:gd name="T34" fmla="*/ 164 w 1958"/>
                <a:gd name="T35" fmla="*/ 1108 h 1551"/>
                <a:gd name="T36" fmla="*/ 67 w 1958"/>
                <a:gd name="T37" fmla="*/ 1057 h 1551"/>
                <a:gd name="T38" fmla="*/ 0 w 1958"/>
                <a:gd name="T39" fmla="*/ 1261 h 1551"/>
                <a:gd name="T40" fmla="*/ 50 w 1958"/>
                <a:gd name="T41" fmla="*/ 1289 h 1551"/>
                <a:gd name="T42" fmla="*/ 128 w 1958"/>
                <a:gd name="T43" fmla="*/ 1366 h 1551"/>
                <a:gd name="T44" fmla="*/ 142 w 1958"/>
                <a:gd name="T45" fmla="*/ 1384 h 1551"/>
                <a:gd name="T46" fmla="*/ 356 w 1958"/>
                <a:gd name="T47" fmla="*/ 1359 h 1551"/>
                <a:gd name="T48" fmla="*/ 565 w 1958"/>
                <a:gd name="T49" fmla="*/ 1269 h 1551"/>
                <a:gd name="T50" fmla="*/ 825 w 1958"/>
                <a:gd name="T51" fmla="*/ 1161 h 1551"/>
                <a:gd name="T52" fmla="*/ 1085 w 1958"/>
                <a:gd name="T53" fmla="*/ 954 h 1551"/>
                <a:gd name="T54" fmla="*/ 1457 w 1958"/>
                <a:gd name="T55" fmla="*/ 777 h 1551"/>
                <a:gd name="T56" fmla="*/ 1464 w 1958"/>
                <a:gd name="T57" fmla="*/ 669 h 1551"/>
                <a:gd name="T58" fmla="*/ 1657 w 1958"/>
                <a:gd name="T59" fmla="*/ 738 h 1551"/>
                <a:gd name="T60" fmla="*/ 1781 w 1958"/>
                <a:gd name="T61" fmla="*/ 818 h 1551"/>
                <a:gd name="T62" fmla="*/ 1924 w 1958"/>
                <a:gd name="T63" fmla="*/ 478 h 1551"/>
                <a:gd name="T64" fmla="*/ 1736 w 1958"/>
                <a:gd name="T65" fmla="*/ 117 h 1551"/>
                <a:gd name="T66" fmla="*/ 1683 w 1958"/>
                <a:gd name="T67" fmla="*/ 81 h 1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58" h="1551">
                  <a:moveTo>
                    <a:pt x="1683" y="81"/>
                  </a:moveTo>
                  <a:cubicBezTo>
                    <a:pt x="1658" y="58"/>
                    <a:pt x="1658" y="58"/>
                    <a:pt x="1658" y="58"/>
                  </a:cubicBezTo>
                  <a:cubicBezTo>
                    <a:pt x="1526" y="106"/>
                    <a:pt x="1526" y="106"/>
                    <a:pt x="1526" y="106"/>
                  </a:cubicBezTo>
                  <a:cubicBezTo>
                    <a:pt x="1500" y="136"/>
                    <a:pt x="1500" y="136"/>
                    <a:pt x="1500" y="136"/>
                  </a:cubicBezTo>
                  <a:cubicBezTo>
                    <a:pt x="1500" y="136"/>
                    <a:pt x="1451" y="104"/>
                    <a:pt x="1398" y="104"/>
                  </a:cubicBezTo>
                  <a:cubicBezTo>
                    <a:pt x="1345" y="104"/>
                    <a:pt x="1317" y="181"/>
                    <a:pt x="1317" y="181"/>
                  </a:cubicBezTo>
                  <a:cubicBezTo>
                    <a:pt x="1287" y="278"/>
                    <a:pt x="1287" y="278"/>
                    <a:pt x="1287" y="278"/>
                  </a:cubicBezTo>
                  <a:cubicBezTo>
                    <a:pt x="1032" y="296"/>
                    <a:pt x="1032" y="296"/>
                    <a:pt x="1032" y="296"/>
                  </a:cubicBezTo>
                  <a:cubicBezTo>
                    <a:pt x="927" y="227"/>
                    <a:pt x="927" y="227"/>
                    <a:pt x="927" y="227"/>
                  </a:cubicBezTo>
                  <a:cubicBezTo>
                    <a:pt x="879" y="220"/>
                    <a:pt x="879" y="220"/>
                    <a:pt x="879" y="220"/>
                  </a:cubicBezTo>
                  <a:cubicBezTo>
                    <a:pt x="879" y="220"/>
                    <a:pt x="844" y="299"/>
                    <a:pt x="800" y="273"/>
                  </a:cubicBezTo>
                  <a:cubicBezTo>
                    <a:pt x="756" y="248"/>
                    <a:pt x="804" y="222"/>
                    <a:pt x="804" y="222"/>
                  </a:cubicBezTo>
                  <a:cubicBezTo>
                    <a:pt x="770" y="72"/>
                    <a:pt x="770" y="72"/>
                    <a:pt x="770" y="72"/>
                  </a:cubicBezTo>
                  <a:cubicBezTo>
                    <a:pt x="654" y="44"/>
                    <a:pt x="654" y="44"/>
                    <a:pt x="654" y="44"/>
                  </a:cubicBezTo>
                  <a:cubicBezTo>
                    <a:pt x="563" y="0"/>
                    <a:pt x="563" y="0"/>
                    <a:pt x="563" y="0"/>
                  </a:cubicBezTo>
                  <a:cubicBezTo>
                    <a:pt x="438" y="72"/>
                    <a:pt x="438" y="72"/>
                    <a:pt x="438" y="72"/>
                  </a:cubicBezTo>
                  <a:cubicBezTo>
                    <a:pt x="438" y="72"/>
                    <a:pt x="336" y="72"/>
                    <a:pt x="299" y="85"/>
                  </a:cubicBezTo>
                  <a:cubicBezTo>
                    <a:pt x="262" y="99"/>
                    <a:pt x="199" y="132"/>
                    <a:pt x="199" y="132"/>
                  </a:cubicBezTo>
                  <a:cubicBezTo>
                    <a:pt x="171" y="160"/>
                    <a:pt x="171" y="160"/>
                    <a:pt x="171" y="160"/>
                  </a:cubicBezTo>
                  <a:cubicBezTo>
                    <a:pt x="178" y="197"/>
                    <a:pt x="178" y="197"/>
                    <a:pt x="178" y="197"/>
                  </a:cubicBezTo>
                  <a:cubicBezTo>
                    <a:pt x="153" y="220"/>
                    <a:pt x="153" y="220"/>
                    <a:pt x="153" y="220"/>
                  </a:cubicBezTo>
                  <a:cubicBezTo>
                    <a:pt x="160" y="315"/>
                    <a:pt x="160" y="315"/>
                    <a:pt x="160" y="315"/>
                  </a:cubicBezTo>
                  <a:cubicBezTo>
                    <a:pt x="185" y="352"/>
                    <a:pt x="185" y="352"/>
                    <a:pt x="185" y="352"/>
                  </a:cubicBezTo>
                  <a:cubicBezTo>
                    <a:pt x="146" y="375"/>
                    <a:pt x="146" y="375"/>
                    <a:pt x="146" y="375"/>
                  </a:cubicBezTo>
                  <a:cubicBezTo>
                    <a:pt x="176" y="450"/>
                    <a:pt x="176" y="450"/>
                    <a:pt x="176" y="450"/>
                  </a:cubicBezTo>
                  <a:cubicBezTo>
                    <a:pt x="204" y="586"/>
                    <a:pt x="204" y="586"/>
                    <a:pt x="204" y="586"/>
                  </a:cubicBezTo>
                  <a:cubicBezTo>
                    <a:pt x="378" y="619"/>
                    <a:pt x="378" y="619"/>
                    <a:pt x="378" y="619"/>
                  </a:cubicBezTo>
                  <a:cubicBezTo>
                    <a:pt x="375" y="647"/>
                    <a:pt x="375" y="647"/>
                    <a:pt x="375" y="647"/>
                  </a:cubicBezTo>
                  <a:cubicBezTo>
                    <a:pt x="443" y="695"/>
                    <a:pt x="443" y="695"/>
                    <a:pt x="443" y="695"/>
                  </a:cubicBezTo>
                  <a:cubicBezTo>
                    <a:pt x="468" y="765"/>
                    <a:pt x="468" y="765"/>
                    <a:pt x="468" y="765"/>
                  </a:cubicBezTo>
                  <a:cubicBezTo>
                    <a:pt x="269" y="867"/>
                    <a:pt x="269" y="867"/>
                    <a:pt x="269" y="867"/>
                  </a:cubicBezTo>
                  <a:cubicBezTo>
                    <a:pt x="269" y="867"/>
                    <a:pt x="218" y="881"/>
                    <a:pt x="215" y="930"/>
                  </a:cubicBezTo>
                  <a:cubicBezTo>
                    <a:pt x="213" y="978"/>
                    <a:pt x="255" y="969"/>
                    <a:pt x="264" y="1011"/>
                  </a:cubicBezTo>
                  <a:cubicBezTo>
                    <a:pt x="273" y="1052"/>
                    <a:pt x="243" y="1064"/>
                    <a:pt x="243" y="1064"/>
                  </a:cubicBezTo>
                  <a:cubicBezTo>
                    <a:pt x="169" y="1064"/>
                    <a:pt x="169" y="1064"/>
                    <a:pt x="169" y="1064"/>
                  </a:cubicBezTo>
                  <a:cubicBezTo>
                    <a:pt x="164" y="1108"/>
                    <a:pt x="164" y="1108"/>
                    <a:pt x="164" y="1108"/>
                  </a:cubicBezTo>
                  <a:cubicBezTo>
                    <a:pt x="106" y="1122"/>
                    <a:pt x="106" y="1122"/>
                    <a:pt x="106" y="1122"/>
                  </a:cubicBezTo>
                  <a:cubicBezTo>
                    <a:pt x="67" y="1057"/>
                    <a:pt x="67" y="1057"/>
                    <a:pt x="67" y="1057"/>
                  </a:cubicBezTo>
                  <a:cubicBezTo>
                    <a:pt x="0" y="1164"/>
                    <a:pt x="0" y="1164"/>
                    <a:pt x="0" y="1164"/>
                  </a:cubicBezTo>
                  <a:cubicBezTo>
                    <a:pt x="0" y="1261"/>
                    <a:pt x="0" y="1261"/>
                    <a:pt x="0" y="1261"/>
                  </a:cubicBezTo>
                  <a:cubicBezTo>
                    <a:pt x="2" y="1259"/>
                    <a:pt x="2" y="1259"/>
                    <a:pt x="2" y="1259"/>
                  </a:cubicBezTo>
                  <a:cubicBezTo>
                    <a:pt x="50" y="1289"/>
                    <a:pt x="50" y="1289"/>
                    <a:pt x="50" y="1289"/>
                  </a:cubicBezTo>
                  <a:cubicBezTo>
                    <a:pt x="74" y="1337"/>
                    <a:pt x="74" y="1337"/>
                    <a:pt x="74" y="1337"/>
                  </a:cubicBezTo>
                  <a:cubicBezTo>
                    <a:pt x="128" y="1366"/>
                    <a:pt x="128" y="1366"/>
                    <a:pt x="128" y="1366"/>
                  </a:cubicBezTo>
                  <a:cubicBezTo>
                    <a:pt x="132" y="1386"/>
                    <a:pt x="132" y="1386"/>
                    <a:pt x="132" y="1386"/>
                  </a:cubicBezTo>
                  <a:cubicBezTo>
                    <a:pt x="135" y="1386"/>
                    <a:pt x="139" y="1385"/>
                    <a:pt x="142" y="1384"/>
                  </a:cubicBezTo>
                  <a:cubicBezTo>
                    <a:pt x="162" y="1411"/>
                    <a:pt x="239" y="1551"/>
                    <a:pt x="264" y="1541"/>
                  </a:cubicBezTo>
                  <a:cubicBezTo>
                    <a:pt x="275" y="1536"/>
                    <a:pt x="321" y="1381"/>
                    <a:pt x="356" y="1359"/>
                  </a:cubicBezTo>
                  <a:cubicBezTo>
                    <a:pt x="388" y="1339"/>
                    <a:pt x="410" y="1253"/>
                    <a:pt x="486" y="1304"/>
                  </a:cubicBezTo>
                  <a:cubicBezTo>
                    <a:pt x="488" y="1305"/>
                    <a:pt x="551" y="1277"/>
                    <a:pt x="565" y="1269"/>
                  </a:cubicBezTo>
                  <a:cubicBezTo>
                    <a:pt x="620" y="1239"/>
                    <a:pt x="706" y="1334"/>
                    <a:pt x="722" y="1196"/>
                  </a:cubicBezTo>
                  <a:cubicBezTo>
                    <a:pt x="759" y="1205"/>
                    <a:pt x="799" y="1196"/>
                    <a:pt x="825" y="1161"/>
                  </a:cubicBezTo>
                  <a:cubicBezTo>
                    <a:pt x="873" y="1098"/>
                    <a:pt x="927" y="1061"/>
                    <a:pt x="929" y="1056"/>
                  </a:cubicBezTo>
                  <a:cubicBezTo>
                    <a:pt x="987" y="1131"/>
                    <a:pt x="1028" y="982"/>
                    <a:pt x="1085" y="954"/>
                  </a:cubicBezTo>
                  <a:cubicBezTo>
                    <a:pt x="1119" y="938"/>
                    <a:pt x="1237" y="885"/>
                    <a:pt x="1273" y="885"/>
                  </a:cubicBezTo>
                  <a:cubicBezTo>
                    <a:pt x="1335" y="885"/>
                    <a:pt x="1400" y="810"/>
                    <a:pt x="1457" y="777"/>
                  </a:cubicBezTo>
                  <a:cubicBezTo>
                    <a:pt x="1506" y="749"/>
                    <a:pt x="1553" y="783"/>
                    <a:pt x="1552" y="713"/>
                  </a:cubicBezTo>
                  <a:cubicBezTo>
                    <a:pt x="1551" y="707"/>
                    <a:pt x="1470" y="671"/>
                    <a:pt x="1464" y="669"/>
                  </a:cubicBezTo>
                  <a:cubicBezTo>
                    <a:pt x="1466" y="651"/>
                    <a:pt x="1479" y="617"/>
                    <a:pt x="1490" y="603"/>
                  </a:cubicBezTo>
                  <a:cubicBezTo>
                    <a:pt x="1545" y="632"/>
                    <a:pt x="1738" y="621"/>
                    <a:pt x="1657" y="738"/>
                  </a:cubicBezTo>
                  <a:cubicBezTo>
                    <a:pt x="1675" y="732"/>
                    <a:pt x="1697" y="734"/>
                    <a:pt x="1715" y="727"/>
                  </a:cubicBezTo>
                  <a:cubicBezTo>
                    <a:pt x="1649" y="813"/>
                    <a:pt x="1730" y="782"/>
                    <a:pt x="1781" y="818"/>
                  </a:cubicBezTo>
                  <a:cubicBezTo>
                    <a:pt x="1831" y="853"/>
                    <a:pt x="1831" y="757"/>
                    <a:pt x="1855" y="741"/>
                  </a:cubicBezTo>
                  <a:cubicBezTo>
                    <a:pt x="1905" y="708"/>
                    <a:pt x="1925" y="543"/>
                    <a:pt x="1924" y="478"/>
                  </a:cubicBezTo>
                  <a:cubicBezTo>
                    <a:pt x="1958" y="373"/>
                    <a:pt x="1883" y="327"/>
                    <a:pt x="1883" y="232"/>
                  </a:cubicBezTo>
                  <a:cubicBezTo>
                    <a:pt x="1883" y="137"/>
                    <a:pt x="1805" y="152"/>
                    <a:pt x="1736" y="117"/>
                  </a:cubicBezTo>
                  <a:cubicBezTo>
                    <a:pt x="1714" y="107"/>
                    <a:pt x="1715" y="89"/>
                    <a:pt x="1722" y="69"/>
                  </a:cubicBezTo>
                  <a:lnTo>
                    <a:pt x="1683" y="81"/>
                  </a:lnTo>
                  <a:close/>
                </a:path>
              </a:pathLst>
            </a:custGeom>
            <a:solidFill>
              <a:schemeClr val="accent6"/>
            </a:solidFill>
            <a:ln w="6350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 dirty="0">
                <a:solidFill>
                  <a:schemeClr val="bg1"/>
                </a:solidFill>
              </a:endParaRPr>
            </a:p>
          </p:txBody>
        </p:sp>
        <p:sp>
          <p:nvSpPr>
            <p:cNvPr id="19" name="NRW"/>
            <p:cNvSpPr>
              <a:spLocks/>
            </p:cNvSpPr>
            <p:nvPr/>
          </p:nvSpPr>
          <p:spPr bwMode="gray">
            <a:xfrm>
              <a:off x="3500513" y="2173016"/>
              <a:ext cx="1757701" cy="1640917"/>
            </a:xfrm>
            <a:custGeom>
              <a:avLst/>
              <a:gdLst>
                <a:gd name="T0" fmla="*/ 2295 w 2295"/>
                <a:gd name="T1" fmla="*/ 681 h 2141"/>
                <a:gd name="T2" fmla="*/ 2186 w 2295"/>
                <a:gd name="T3" fmla="*/ 556 h 2141"/>
                <a:gd name="T4" fmla="*/ 2108 w 2295"/>
                <a:gd name="T5" fmla="*/ 403 h 2141"/>
                <a:gd name="T6" fmla="*/ 2055 w 2295"/>
                <a:gd name="T7" fmla="*/ 299 h 2141"/>
                <a:gd name="T8" fmla="*/ 2020 w 2295"/>
                <a:gd name="T9" fmla="*/ 211 h 2141"/>
                <a:gd name="T10" fmla="*/ 2122 w 2295"/>
                <a:gd name="T11" fmla="*/ 46 h 2141"/>
                <a:gd name="T12" fmla="*/ 1994 w 2295"/>
                <a:gd name="T13" fmla="*/ 131 h 2141"/>
                <a:gd name="T14" fmla="*/ 1839 w 2295"/>
                <a:gd name="T15" fmla="*/ 0 h 2141"/>
                <a:gd name="T16" fmla="*/ 1689 w 2295"/>
                <a:gd name="T17" fmla="*/ 59 h 2141"/>
                <a:gd name="T18" fmla="*/ 1620 w 2295"/>
                <a:gd name="T19" fmla="*/ 112 h 2141"/>
                <a:gd name="T20" fmla="*/ 1697 w 2295"/>
                <a:gd name="T21" fmla="*/ 305 h 2141"/>
                <a:gd name="T22" fmla="*/ 1593 w 2295"/>
                <a:gd name="T23" fmla="*/ 393 h 2141"/>
                <a:gd name="T24" fmla="*/ 1340 w 2295"/>
                <a:gd name="T25" fmla="*/ 427 h 2141"/>
                <a:gd name="T26" fmla="*/ 1425 w 2295"/>
                <a:gd name="T27" fmla="*/ 350 h 2141"/>
                <a:gd name="T28" fmla="*/ 1398 w 2295"/>
                <a:gd name="T29" fmla="*/ 190 h 2141"/>
                <a:gd name="T30" fmla="*/ 1294 w 2295"/>
                <a:gd name="T31" fmla="*/ 151 h 2141"/>
                <a:gd name="T32" fmla="*/ 1182 w 2295"/>
                <a:gd name="T33" fmla="*/ 30 h 2141"/>
                <a:gd name="T34" fmla="*/ 1174 w 2295"/>
                <a:gd name="T35" fmla="*/ 78 h 2141"/>
                <a:gd name="T36" fmla="*/ 979 w 2295"/>
                <a:gd name="T37" fmla="*/ 238 h 2141"/>
                <a:gd name="T38" fmla="*/ 797 w 2295"/>
                <a:gd name="T39" fmla="*/ 241 h 2141"/>
                <a:gd name="T40" fmla="*/ 680 w 2295"/>
                <a:gd name="T41" fmla="*/ 374 h 2141"/>
                <a:gd name="T42" fmla="*/ 586 w 2295"/>
                <a:gd name="T43" fmla="*/ 580 h 2141"/>
                <a:gd name="T44" fmla="*/ 390 w 2295"/>
                <a:gd name="T45" fmla="*/ 647 h 2141"/>
                <a:gd name="T46" fmla="*/ 229 w 2295"/>
                <a:gd name="T47" fmla="*/ 640 h 2141"/>
                <a:gd name="T48" fmla="*/ 150 w 2295"/>
                <a:gd name="T49" fmla="*/ 760 h 2141"/>
                <a:gd name="T50" fmla="*/ 248 w 2295"/>
                <a:gd name="T51" fmla="*/ 1101 h 2141"/>
                <a:gd name="T52" fmla="*/ 195 w 2295"/>
                <a:gd name="T53" fmla="*/ 1296 h 2141"/>
                <a:gd name="T54" fmla="*/ 41 w 2295"/>
                <a:gd name="T55" fmla="*/ 1397 h 2141"/>
                <a:gd name="T56" fmla="*/ 133 w 2295"/>
                <a:gd name="T57" fmla="*/ 1629 h 2141"/>
                <a:gd name="T58" fmla="*/ 232 w 2295"/>
                <a:gd name="T59" fmla="*/ 1861 h 2141"/>
                <a:gd name="T60" fmla="*/ 257 w 2295"/>
                <a:gd name="T61" fmla="*/ 1992 h 2141"/>
                <a:gd name="T62" fmla="*/ 292 w 2295"/>
                <a:gd name="T63" fmla="*/ 2105 h 2141"/>
                <a:gd name="T64" fmla="*/ 319 w 2295"/>
                <a:gd name="T65" fmla="*/ 2091 h 2141"/>
                <a:gd name="T66" fmla="*/ 522 w 2295"/>
                <a:gd name="T67" fmla="*/ 2141 h 2141"/>
                <a:gd name="T68" fmla="*/ 543 w 2295"/>
                <a:gd name="T69" fmla="*/ 2014 h 2141"/>
                <a:gd name="T70" fmla="*/ 646 w 2295"/>
                <a:gd name="T71" fmla="*/ 2033 h 2141"/>
                <a:gd name="T72" fmla="*/ 838 w 2295"/>
                <a:gd name="T73" fmla="*/ 1857 h 2141"/>
                <a:gd name="T74" fmla="*/ 960 w 2295"/>
                <a:gd name="T75" fmla="*/ 1857 h 2141"/>
                <a:gd name="T76" fmla="*/ 1130 w 2295"/>
                <a:gd name="T77" fmla="*/ 1746 h 2141"/>
                <a:gd name="T78" fmla="*/ 1205 w 2295"/>
                <a:gd name="T79" fmla="*/ 1676 h 2141"/>
                <a:gd name="T80" fmla="*/ 1257 w 2295"/>
                <a:gd name="T81" fmla="*/ 1592 h 2141"/>
                <a:gd name="T82" fmla="*/ 1332 w 2295"/>
                <a:gd name="T83" fmla="*/ 1682 h 2141"/>
                <a:gd name="T84" fmla="*/ 1431 w 2295"/>
                <a:gd name="T85" fmla="*/ 1838 h 2141"/>
                <a:gd name="T86" fmla="*/ 1449 w 2295"/>
                <a:gd name="T87" fmla="*/ 1744 h 2141"/>
                <a:gd name="T88" fmla="*/ 1531 w 2295"/>
                <a:gd name="T89" fmla="*/ 1648 h 2141"/>
                <a:gd name="T90" fmla="*/ 1704 w 2295"/>
                <a:gd name="T91" fmla="*/ 1508 h 2141"/>
                <a:gd name="T92" fmla="*/ 1816 w 2295"/>
                <a:gd name="T93" fmla="*/ 1434 h 2141"/>
                <a:gd name="T94" fmla="*/ 1819 w 2295"/>
                <a:gd name="T95" fmla="*/ 1270 h 2141"/>
                <a:gd name="T96" fmla="*/ 1734 w 2295"/>
                <a:gd name="T97" fmla="*/ 1251 h 2141"/>
                <a:gd name="T98" fmla="*/ 1964 w 2295"/>
                <a:gd name="T99" fmla="*/ 1155 h 2141"/>
                <a:gd name="T100" fmla="*/ 2027 w 2295"/>
                <a:gd name="T101" fmla="*/ 1032 h 2141"/>
                <a:gd name="T102" fmla="*/ 2208 w 2295"/>
                <a:gd name="T103" fmla="*/ 1015 h 2141"/>
                <a:gd name="T104" fmla="*/ 2278 w 2295"/>
                <a:gd name="T105" fmla="*/ 904 h 2141"/>
                <a:gd name="T106" fmla="*/ 2269 w 2295"/>
                <a:gd name="T107" fmla="*/ 772 h 2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95" h="2141">
                  <a:moveTo>
                    <a:pt x="2269" y="772"/>
                  </a:moveTo>
                  <a:cubicBezTo>
                    <a:pt x="2290" y="740"/>
                    <a:pt x="2295" y="681"/>
                    <a:pt x="2295" y="681"/>
                  </a:cubicBezTo>
                  <a:cubicBezTo>
                    <a:pt x="2218" y="676"/>
                    <a:pt x="2218" y="676"/>
                    <a:pt x="2218" y="676"/>
                  </a:cubicBezTo>
                  <a:cubicBezTo>
                    <a:pt x="2186" y="556"/>
                    <a:pt x="2186" y="556"/>
                    <a:pt x="2186" y="556"/>
                  </a:cubicBezTo>
                  <a:cubicBezTo>
                    <a:pt x="2124" y="569"/>
                    <a:pt x="2124" y="569"/>
                    <a:pt x="2124" y="569"/>
                  </a:cubicBezTo>
                  <a:cubicBezTo>
                    <a:pt x="2108" y="403"/>
                    <a:pt x="2108" y="403"/>
                    <a:pt x="2108" y="403"/>
                  </a:cubicBezTo>
                  <a:cubicBezTo>
                    <a:pt x="2023" y="393"/>
                    <a:pt x="2023" y="393"/>
                    <a:pt x="2023" y="393"/>
                  </a:cubicBezTo>
                  <a:cubicBezTo>
                    <a:pt x="2055" y="299"/>
                    <a:pt x="2055" y="299"/>
                    <a:pt x="2055" y="299"/>
                  </a:cubicBezTo>
                  <a:cubicBezTo>
                    <a:pt x="2020" y="281"/>
                    <a:pt x="2020" y="281"/>
                    <a:pt x="2020" y="281"/>
                  </a:cubicBezTo>
                  <a:cubicBezTo>
                    <a:pt x="2020" y="211"/>
                    <a:pt x="2020" y="211"/>
                    <a:pt x="2020" y="211"/>
                  </a:cubicBezTo>
                  <a:cubicBezTo>
                    <a:pt x="2076" y="187"/>
                    <a:pt x="2076" y="187"/>
                    <a:pt x="2076" y="187"/>
                  </a:cubicBezTo>
                  <a:cubicBezTo>
                    <a:pt x="2122" y="46"/>
                    <a:pt x="2122" y="46"/>
                    <a:pt x="2122" y="46"/>
                  </a:cubicBezTo>
                  <a:cubicBezTo>
                    <a:pt x="2055" y="46"/>
                    <a:pt x="2055" y="46"/>
                    <a:pt x="2055" y="46"/>
                  </a:cubicBezTo>
                  <a:cubicBezTo>
                    <a:pt x="1994" y="131"/>
                    <a:pt x="1994" y="131"/>
                    <a:pt x="1994" y="131"/>
                  </a:cubicBezTo>
                  <a:cubicBezTo>
                    <a:pt x="1850" y="126"/>
                    <a:pt x="1850" y="126"/>
                    <a:pt x="1850" y="126"/>
                  </a:cubicBezTo>
                  <a:cubicBezTo>
                    <a:pt x="1839" y="0"/>
                    <a:pt x="1839" y="0"/>
                    <a:pt x="1839" y="0"/>
                  </a:cubicBezTo>
                  <a:cubicBezTo>
                    <a:pt x="1713" y="19"/>
                    <a:pt x="1713" y="19"/>
                    <a:pt x="1713" y="19"/>
                  </a:cubicBezTo>
                  <a:cubicBezTo>
                    <a:pt x="1689" y="59"/>
                    <a:pt x="1689" y="59"/>
                    <a:pt x="1689" y="59"/>
                  </a:cubicBezTo>
                  <a:cubicBezTo>
                    <a:pt x="1607" y="64"/>
                    <a:pt x="1607" y="64"/>
                    <a:pt x="1607" y="64"/>
                  </a:cubicBezTo>
                  <a:cubicBezTo>
                    <a:pt x="1620" y="112"/>
                    <a:pt x="1620" y="112"/>
                    <a:pt x="1620" y="112"/>
                  </a:cubicBezTo>
                  <a:cubicBezTo>
                    <a:pt x="1692" y="160"/>
                    <a:pt x="1692" y="160"/>
                    <a:pt x="1692" y="160"/>
                  </a:cubicBezTo>
                  <a:cubicBezTo>
                    <a:pt x="1692" y="160"/>
                    <a:pt x="1705" y="211"/>
                    <a:pt x="1697" y="305"/>
                  </a:cubicBezTo>
                  <a:cubicBezTo>
                    <a:pt x="1689" y="398"/>
                    <a:pt x="1663" y="406"/>
                    <a:pt x="1663" y="406"/>
                  </a:cubicBezTo>
                  <a:cubicBezTo>
                    <a:pt x="1593" y="393"/>
                    <a:pt x="1593" y="393"/>
                    <a:pt x="1593" y="393"/>
                  </a:cubicBezTo>
                  <a:cubicBezTo>
                    <a:pt x="1374" y="489"/>
                    <a:pt x="1374" y="489"/>
                    <a:pt x="1374" y="489"/>
                  </a:cubicBezTo>
                  <a:cubicBezTo>
                    <a:pt x="1340" y="427"/>
                    <a:pt x="1340" y="427"/>
                    <a:pt x="1340" y="427"/>
                  </a:cubicBezTo>
                  <a:cubicBezTo>
                    <a:pt x="1414" y="395"/>
                    <a:pt x="1414" y="395"/>
                    <a:pt x="1414" y="395"/>
                  </a:cubicBezTo>
                  <a:cubicBezTo>
                    <a:pt x="1425" y="350"/>
                    <a:pt x="1425" y="350"/>
                    <a:pt x="1425" y="350"/>
                  </a:cubicBezTo>
                  <a:cubicBezTo>
                    <a:pt x="1329" y="315"/>
                    <a:pt x="1329" y="315"/>
                    <a:pt x="1329" y="315"/>
                  </a:cubicBezTo>
                  <a:cubicBezTo>
                    <a:pt x="1398" y="190"/>
                    <a:pt x="1398" y="190"/>
                    <a:pt x="1398" y="190"/>
                  </a:cubicBezTo>
                  <a:cubicBezTo>
                    <a:pt x="1369" y="134"/>
                    <a:pt x="1369" y="134"/>
                    <a:pt x="1369" y="134"/>
                  </a:cubicBezTo>
                  <a:cubicBezTo>
                    <a:pt x="1294" y="151"/>
                    <a:pt x="1294" y="151"/>
                    <a:pt x="1294" y="151"/>
                  </a:cubicBezTo>
                  <a:cubicBezTo>
                    <a:pt x="1236" y="59"/>
                    <a:pt x="1236" y="59"/>
                    <a:pt x="1236" y="59"/>
                  </a:cubicBezTo>
                  <a:cubicBezTo>
                    <a:pt x="1182" y="30"/>
                    <a:pt x="1182" y="30"/>
                    <a:pt x="1182" y="30"/>
                  </a:cubicBezTo>
                  <a:cubicBezTo>
                    <a:pt x="1148" y="56"/>
                    <a:pt x="1148" y="56"/>
                    <a:pt x="1148" y="56"/>
                  </a:cubicBezTo>
                  <a:cubicBezTo>
                    <a:pt x="1174" y="78"/>
                    <a:pt x="1174" y="78"/>
                    <a:pt x="1174" y="78"/>
                  </a:cubicBezTo>
                  <a:cubicBezTo>
                    <a:pt x="1150" y="134"/>
                    <a:pt x="1150" y="134"/>
                    <a:pt x="1150" y="134"/>
                  </a:cubicBezTo>
                  <a:cubicBezTo>
                    <a:pt x="979" y="238"/>
                    <a:pt x="979" y="238"/>
                    <a:pt x="979" y="238"/>
                  </a:cubicBezTo>
                  <a:cubicBezTo>
                    <a:pt x="891" y="222"/>
                    <a:pt x="891" y="222"/>
                    <a:pt x="891" y="222"/>
                  </a:cubicBezTo>
                  <a:cubicBezTo>
                    <a:pt x="797" y="241"/>
                    <a:pt x="797" y="241"/>
                    <a:pt x="797" y="241"/>
                  </a:cubicBezTo>
                  <a:cubicBezTo>
                    <a:pt x="800" y="248"/>
                    <a:pt x="804" y="255"/>
                    <a:pt x="811" y="261"/>
                  </a:cubicBezTo>
                  <a:cubicBezTo>
                    <a:pt x="776" y="271"/>
                    <a:pt x="691" y="374"/>
                    <a:pt x="680" y="374"/>
                  </a:cubicBezTo>
                  <a:cubicBezTo>
                    <a:pt x="615" y="374"/>
                    <a:pt x="587" y="407"/>
                    <a:pt x="560" y="456"/>
                  </a:cubicBezTo>
                  <a:cubicBezTo>
                    <a:pt x="690" y="460"/>
                    <a:pt x="619" y="602"/>
                    <a:pt x="586" y="580"/>
                  </a:cubicBezTo>
                  <a:cubicBezTo>
                    <a:pt x="526" y="540"/>
                    <a:pt x="457" y="639"/>
                    <a:pt x="383" y="610"/>
                  </a:cubicBezTo>
                  <a:cubicBezTo>
                    <a:pt x="386" y="623"/>
                    <a:pt x="388" y="635"/>
                    <a:pt x="390" y="647"/>
                  </a:cubicBezTo>
                  <a:cubicBezTo>
                    <a:pt x="340" y="608"/>
                    <a:pt x="257" y="577"/>
                    <a:pt x="204" y="585"/>
                  </a:cubicBezTo>
                  <a:cubicBezTo>
                    <a:pt x="218" y="603"/>
                    <a:pt x="219" y="624"/>
                    <a:pt x="229" y="640"/>
                  </a:cubicBezTo>
                  <a:cubicBezTo>
                    <a:pt x="184" y="618"/>
                    <a:pt x="142" y="629"/>
                    <a:pt x="91" y="633"/>
                  </a:cubicBezTo>
                  <a:cubicBezTo>
                    <a:pt x="92" y="634"/>
                    <a:pt x="149" y="771"/>
                    <a:pt x="150" y="760"/>
                  </a:cubicBezTo>
                  <a:cubicBezTo>
                    <a:pt x="146" y="804"/>
                    <a:pt x="173" y="868"/>
                    <a:pt x="208" y="917"/>
                  </a:cubicBezTo>
                  <a:cubicBezTo>
                    <a:pt x="245" y="970"/>
                    <a:pt x="250" y="1039"/>
                    <a:pt x="248" y="1101"/>
                  </a:cubicBezTo>
                  <a:cubicBezTo>
                    <a:pt x="244" y="1183"/>
                    <a:pt x="117" y="1197"/>
                    <a:pt x="144" y="1307"/>
                  </a:cubicBezTo>
                  <a:cubicBezTo>
                    <a:pt x="195" y="1296"/>
                    <a:pt x="195" y="1296"/>
                    <a:pt x="195" y="1296"/>
                  </a:cubicBezTo>
                  <a:cubicBezTo>
                    <a:pt x="179" y="1371"/>
                    <a:pt x="87" y="1368"/>
                    <a:pt x="66" y="1443"/>
                  </a:cubicBezTo>
                  <a:cubicBezTo>
                    <a:pt x="58" y="1427"/>
                    <a:pt x="49" y="1412"/>
                    <a:pt x="41" y="1397"/>
                  </a:cubicBezTo>
                  <a:cubicBezTo>
                    <a:pt x="0" y="1415"/>
                    <a:pt x="3" y="1455"/>
                    <a:pt x="22" y="1496"/>
                  </a:cubicBezTo>
                  <a:cubicBezTo>
                    <a:pt x="117" y="1456"/>
                    <a:pt x="112" y="1561"/>
                    <a:pt x="133" y="1629"/>
                  </a:cubicBezTo>
                  <a:cubicBezTo>
                    <a:pt x="101" y="1628"/>
                    <a:pt x="82" y="1641"/>
                    <a:pt x="55" y="1670"/>
                  </a:cubicBezTo>
                  <a:cubicBezTo>
                    <a:pt x="71" y="1736"/>
                    <a:pt x="163" y="1855"/>
                    <a:pt x="232" y="1861"/>
                  </a:cubicBezTo>
                  <a:cubicBezTo>
                    <a:pt x="214" y="1878"/>
                    <a:pt x="165" y="1911"/>
                    <a:pt x="165" y="1935"/>
                  </a:cubicBezTo>
                  <a:cubicBezTo>
                    <a:pt x="168" y="2019"/>
                    <a:pt x="229" y="1959"/>
                    <a:pt x="257" y="1992"/>
                  </a:cubicBezTo>
                  <a:cubicBezTo>
                    <a:pt x="268" y="2006"/>
                    <a:pt x="284" y="2060"/>
                    <a:pt x="292" y="2105"/>
                  </a:cubicBezTo>
                  <a:cubicBezTo>
                    <a:pt x="292" y="2105"/>
                    <a:pt x="292" y="2105"/>
                    <a:pt x="292" y="2105"/>
                  </a:cubicBezTo>
                  <a:cubicBezTo>
                    <a:pt x="320" y="2106"/>
                    <a:pt x="320" y="2106"/>
                    <a:pt x="320" y="2106"/>
                  </a:cubicBezTo>
                  <a:cubicBezTo>
                    <a:pt x="319" y="2091"/>
                    <a:pt x="319" y="2091"/>
                    <a:pt x="319" y="2091"/>
                  </a:cubicBezTo>
                  <a:cubicBezTo>
                    <a:pt x="454" y="2095"/>
                    <a:pt x="454" y="2095"/>
                    <a:pt x="454" y="2095"/>
                  </a:cubicBezTo>
                  <a:cubicBezTo>
                    <a:pt x="522" y="2141"/>
                    <a:pt x="522" y="2141"/>
                    <a:pt x="522" y="2141"/>
                  </a:cubicBezTo>
                  <a:cubicBezTo>
                    <a:pt x="562" y="2141"/>
                    <a:pt x="562" y="2141"/>
                    <a:pt x="562" y="2141"/>
                  </a:cubicBezTo>
                  <a:cubicBezTo>
                    <a:pt x="543" y="2014"/>
                    <a:pt x="543" y="2014"/>
                    <a:pt x="543" y="2014"/>
                  </a:cubicBezTo>
                  <a:cubicBezTo>
                    <a:pt x="578" y="2001"/>
                    <a:pt x="578" y="2001"/>
                    <a:pt x="578" y="2001"/>
                  </a:cubicBezTo>
                  <a:cubicBezTo>
                    <a:pt x="646" y="2033"/>
                    <a:pt x="646" y="2033"/>
                    <a:pt x="646" y="2033"/>
                  </a:cubicBezTo>
                  <a:cubicBezTo>
                    <a:pt x="657" y="1946"/>
                    <a:pt x="657" y="1946"/>
                    <a:pt x="657" y="1946"/>
                  </a:cubicBezTo>
                  <a:cubicBezTo>
                    <a:pt x="838" y="1857"/>
                    <a:pt x="838" y="1857"/>
                    <a:pt x="838" y="1857"/>
                  </a:cubicBezTo>
                  <a:cubicBezTo>
                    <a:pt x="900" y="1882"/>
                    <a:pt x="900" y="1882"/>
                    <a:pt x="900" y="1882"/>
                  </a:cubicBezTo>
                  <a:cubicBezTo>
                    <a:pt x="960" y="1857"/>
                    <a:pt x="960" y="1857"/>
                    <a:pt x="960" y="1857"/>
                  </a:cubicBezTo>
                  <a:cubicBezTo>
                    <a:pt x="962" y="1790"/>
                    <a:pt x="962" y="1790"/>
                    <a:pt x="962" y="1790"/>
                  </a:cubicBezTo>
                  <a:cubicBezTo>
                    <a:pt x="1130" y="1746"/>
                    <a:pt x="1130" y="1746"/>
                    <a:pt x="1130" y="1746"/>
                  </a:cubicBezTo>
                  <a:cubicBezTo>
                    <a:pt x="1151" y="1703"/>
                    <a:pt x="1151" y="1703"/>
                    <a:pt x="1151" y="1703"/>
                  </a:cubicBezTo>
                  <a:cubicBezTo>
                    <a:pt x="1205" y="1676"/>
                    <a:pt x="1205" y="1676"/>
                    <a:pt x="1205" y="1676"/>
                  </a:cubicBezTo>
                  <a:cubicBezTo>
                    <a:pt x="1205" y="1603"/>
                    <a:pt x="1205" y="1603"/>
                    <a:pt x="1205" y="1603"/>
                  </a:cubicBezTo>
                  <a:cubicBezTo>
                    <a:pt x="1257" y="1592"/>
                    <a:pt x="1257" y="1592"/>
                    <a:pt x="1257" y="1592"/>
                  </a:cubicBezTo>
                  <a:cubicBezTo>
                    <a:pt x="1265" y="1644"/>
                    <a:pt x="1265" y="1644"/>
                    <a:pt x="1265" y="1644"/>
                  </a:cubicBezTo>
                  <a:cubicBezTo>
                    <a:pt x="1265" y="1644"/>
                    <a:pt x="1311" y="1663"/>
                    <a:pt x="1332" y="1682"/>
                  </a:cubicBezTo>
                  <a:cubicBezTo>
                    <a:pt x="1354" y="1701"/>
                    <a:pt x="1346" y="1779"/>
                    <a:pt x="1360" y="1801"/>
                  </a:cubicBezTo>
                  <a:cubicBezTo>
                    <a:pt x="1372" y="1820"/>
                    <a:pt x="1423" y="1836"/>
                    <a:pt x="1431" y="1838"/>
                  </a:cubicBezTo>
                  <a:cubicBezTo>
                    <a:pt x="1462" y="1793"/>
                    <a:pt x="1462" y="1793"/>
                    <a:pt x="1462" y="1793"/>
                  </a:cubicBezTo>
                  <a:cubicBezTo>
                    <a:pt x="1449" y="1744"/>
                    <a:pt x="1449" y="1744"/>
                    <a:pt x="1449" y="1744"/>
                  </a:cubicBezTo>
                  <a:cubicBezTo>
                    <a:pt x="1449" y="1744"/>
                    <a:pt x="1449" y="1744"/>
                    <a:pt x="1449" y="1744"/>
                  </a:cubicBezTo>
                  <a:cubicBezTo>
                    <a:pt x="1531" y="1648"/>
                    <a:pt x="1531" y="1648"/>
                    <a:pt x="1531" y="1648"/>
                  </a:cubicBezTo>
                  <a:cubicBezTo>
                    <a:pt x="1616" y="1656"/>
                    <a:pt x="1616" y="1656"/>
                    <a:pt x="1616" y="1656"/>
                  </a:cubicBezTo>
                  <a:cubicBezTo>
                    <a:pt x="1704" y="1508"/>
                    <a:pt x="1704" y="1508"/>
                    <a:pt x="1704" y="1508"/>
                  </a:cubicBezTo>
                  <a:cubicBezTo>
                    <a:pt x="1706" y="1448"/>
                    <a:pt x="1706" y="1448"/>
                    <a:pt x="1706" y="1448"/>
                  </a:cubicBezTo>
                  <a:cubicBezTo>
                    <a:pt x="1816" y="1434"/>
                    <a:pt x="1816" y="1434"/>
                    <a:pt x="1816" y="1434"/>
                  </a:cubicBezTo>
                  <a:cubicBezTo>
                    <a:pt x="1816" y="1434"/>
                    <a:pt x="1849" y="1388"/>
                    <a:pt x="1849" y="1336"/>
                  </a:cubicBezTo>
                  <a:cubicBezTo>
                    <a:pt x="1849" y="1284"/>
                    <a:pt x="1819" y="1270"/>
                    <a:pt x="1819" y="1270"/>
                  </a:cubicBezTo>
                  <a:cubicBezTo>
                    <a:pt x="1750" y="1289"/>
                    <a:pt x="1750" y="1289"/>
                    <a:pt x="1750" y="1289"/>
                  </a:cubicBezTo>
                  <a:cubicBezTo>
                    <a:pt x="1734" y="1251"/>
                    <a:pt x="1734" y="1251"/>
                    <a:pt x="1734" y="1251"/>
                  </a:cubicBezTo>
                  <a:cubicBezTo>
                    <a:pt x="1819" y="1155"/>
                    <a:pt x="1819" y="1155"/>
                    <a:pt x="1819" y="1155"/>
                  </a:cubicBezTo>
                  <a:cubicBezTo>
                    <a:pt x="1964" y="1155"/>
                    <a:pt x="1964" y="1155"/>
                    <a:pt x="1964" y="1155"/>
                  </a:cubicBezTo>
                  <a:cubicBezTo>
                    <a:pt x="1953" y="1053"/>
                    <a:pt x="1953" y="1053"/>
                    <a:pt x="1953" y="1053"/>
                  </a:cubicBezTo>
                  <a:cubicBezTo>
                    <a:pt x="2027" y="1032"/>
                    <a:pt x="2027" y="1032"/>
                    <a:pt x="2027" y="1032"/>
                  </a:cubicBezTo>
                  <a:cubicBezTo>
                    <a:pt x="2076" y="1095"/>
                    <a:pt x="2076" y="1095"/>
                    <a:pt x="2076" y="1095"/>
                  </a:cubicBezTo>
                  <a:cubicBezTo>
                    <a:pt x="2208" y="1015"/>
                    <a:pt x="2208" y="1015"/>
                    <a:pt x="2208" y="1015"/>
                  </a:cubicBezTo>
                  <a:cubicBezTo>
                    <a:pt x="2227" y="927"/>
                    <a:pt x="2227" y="927"/>
                    <a:pt x="2227" y="927"/>
                  </a:cubicBezTo>
                  <a:cubicBezTo>
                    <a:pt x="2278" y="904"/>
                    <a:pt x="2278" y="904"/>
                    <a:pt x="2278" y="904"/>
                  </a:cubicBezTo>
                  <a:cubicBezTo>
                    <a:pt x="2234" y="889"/>
                    <a:pt x="2234" y="889"/>
                    <a:pt x="2234" y="889"/>
                  </a:cubicBezTo>
                  <a:cubicBezTo>
                    <a:pt x="2234" y="889"/>
                    <a:pt x="2247" y="804"/>
                    <a:pt x="2269" y="772"/>
                  </a:cubicBezTo>
                  <a:close/>
                </a:path>
              </a:pathLst>
            </a:custGeom>
            <a:solidFill>
              <a:schemeClr val="accent6"/>
            </a:solidFill>
            <a:ln w="6350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 dirty="0">
                <a:solidFill>
                  <a:schemeClr val="bg1"/>
                </a:solidFill>
              </a:endParaRPr>
            </a:p>
          </p:txBody>
        </p:sp>
        <p:sp>
          <p:nvSpPr>
            <p:cNvPr id="20" name="Berlin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6985575" y="2057686"/>
              <a:ext cx="289242" cy="252916"/>
            </a:xfrm>
            <a:custGeom>
              <a:avLst/>
              <a:gdLst>
                <a:gd name="T0" fmla="*/ 95 w 377"/>
                <a:gd name="T1" fmla="*/ 18 h 330"/>
                <a:gd name="T2" fmla="*/ 21 w 377"/>
                <a:gd name="T3" fmla="*/ 78 h 330"/>
                <a:gd name="T4" fmla="*/ 21 w 377"/>
                <a:gd name="T5" fmla="*/ 119 h 330"/>
                <a:gd name="T6" fmla="*/ 8 w 377"/>
                <a:gd name="T7" fmla="*/ 123 h 330"/>
                <a:gd name="T8" fmla="*/ 4 w 377"/>
                <a:gd name="T9" fmla="*/ 156 h 330"/>
                <a:gd name="T10" fmla="*/ 21 w 377"/>
                <a:gd name="T11" fmla="*/ 172 h 330"/>
                <a:gd name="T12" fmla="*/ 0 w 377"/>
                <a:gd name="T13" fmla="*/ 209 h 330"/>
                <a:gd name="T14" fmla="*/ 2 w 377"/>
                <a:gd name="T15" fmla="*/ 289 h 330"/>
                <a:gd name="T16" fmla="*/ 115 w 377"/>
                <a:gd name="T17" fmla="*/ 266 h 330"/>
                <a:gd name="T18" fmla="*/ 183 w 377"/>
                <a:gd name="T19" fmla="*/ 283 h 330"/>
                <a:gd name="T20" fmla="*/ 211 w 377"/>
                <a:gd name="T21" fmla="*/ 254 h 330"/>
                <a:gd name="T22" fmla="*/ 310 w 377"/>
                <a:gd name="T23" fmla="*/ 281 h 330"/>
                <a:gd name="T24" fmla="*/ 318 w 377"/>
                <a:gd name="T25" fmla="*/ 330 h 330"/>
                <a:gd name="T26" fmla="*/ 373 w 377"/>
                <a:gd name="T27" fmla="*/ 273 h 330"/>
                <a:gd name="T28" fmla="*/ 377 w 377"/>
                <a:gd name="T29" fmla="*/ 203 h 330"/>
                <a:gd name="T30" fmla="*/ 314 w 377"/>
                <a:gd name="T31" fmla="*/ 191 h 330"/>
                <a:gd name="T32" fmla="*/ 328 w 377"/>
                <a:gd name="T33" fmla="*/ 127 h 330"/>
                <a:gd name="T34" fmla="*/ 295 w 377"/>
                <a:gd name="T35" fmla="*/ 119 h 330"/>
                <a:gd name="T36" fmla="*/ 258 w 377"/>
                <a:gd name="T37" fmla="*/ 78 h 330"/>
                <a:gd name="T38" fmla="*/ 226 w 377"/>
                <a:gd name="T39" fmla="*/ 63 h 330"/>
                <a:gd name="T40" fmla="*/ 228 w 377"/>
                <a:gd name="T41" fmla="*/ 18 h 330"/>
                <a:gd name="T42" fmla="*/ 205 w 377"/>
                <a:gd name="T43" fmla="*/ 2 h 330"/>
                <a:gd name="T44" fmla="*/ 185 w 377"/>
                <a:gd name="T45" fmla="*/ 55 h 330"/>
                <a:gd name="T46" fmla="*/ 156 w 377"/>
                <a:gd name="T47" fmla="*/ 33 h 330"/>
                <a:gd name="T48" fmla="*/ 95 w 377"/>
                <a:gd name="T49" fmla="*/ 18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7" h="330">
                  <a:moveTo>
                    <a:pt x="95" y="18"/>
                  </a:moveTo>
                  <a:cubicBezTo>
                    <a:pt x="21" y="78"/>
                    <a:pt x="21" y="78"/>
                    <a:pt x="21" y="78"/>
                  </a:cubicBezTo>
                  <a:cubicBezTo>
                    <a:pt x="21" y="119"/>
                    <a:pt x="21" y="119"/>
                    <a:pt x="21" y="119"/>
                  </a:cubicBezTo>
                  <a:cubicBezTo>
                    <a:pt x="8" y="123"/>
                    <a:pt x="8" y="123"/>
                    <a:pt x="8" y="123"/>
                  </a:cubicBezTo>
                  <a:cubicBezTo>
                    <a:pt x="4" y="156"/>
                    <a:pt x="4" y="156"/>
                    <a:pt x="4" y="156"/>
                  </a:cubicBezTo>
                  <a:cubicBezTo>
                    <a:pt x="21" y="172"/>
                    <a:pt x="21" y="172"/>
                    <a:pt x="21" y="172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2" y="289"/>
                    <a:pt x="2" y="289"/>
                    <a:pt x="2" y="289"/>
                  </a:cubicBezTo>
                  <a:cubicBezTo>
                    <a:pt x="115" y="266"/>
                    <a:pt x="115" y="266"/>
                    <a:pt x="115" y="266"/>
                  </a:cubicBezTo>
                  <a:cubicBezTo>
                    <a:pt x="183" y="283"/>
                    <a:pt x="183" y="283"/>
                    <a:pt x="183" y="283"/>
                  </a:cubicBezTo>
                  <a:cubicBezTo>
                    <a:pt x="211" y="254"/>
                    <a:pt x="211" y="254"/>
                    <a:pt x="211" y="254"/>
                  </a:cubicBezTo>
                  <a:cubicBezTo>
                    <a:pt x="310" y="281"/>
                    <a:pt x="310" y="281"/>
                    <a:pt x="310" y="281"/>
                  </a:cubicBezTo>
                  <a:cubicBezTo>
                    <a:pt x="318" y="330"/>
                    <a:pt x="318" y="330"/>
                    <a:pt x="318" y="330"/>
                  </a:cubicBezTo>
                  <a:cubicBezTo>
                    <a:pt x="373" y="273"/>
                    <a:pt x="373" y="273"/>
                    <a:pt x="373" y="273"/>
                  </a:cubicBezTo>
                  <a:cubicBezTo>
                    <a:pt x="377" y="203"/>
                    <a:pt x="377" y="203"/>
                    <a:pt x="377" y="203"/>
                  </a:cubicBezTo>
                  <a:cubicBezTo>
                    <a:pt x="377" y="203"/>
                    <a:pt x="326" y="207"/>
                    <a:pt x="314" y="191"/>
                  </a:cubicBezTo>
                  <a:cubicBezTo>
                    <a:pt x="303" y="176"/>
                    <a:pt x="328" y="127"/>
                    <a:pt x="328" y="127"/>
                  </a:cubicBezTo>
                  <a:cubicBezTo>
                    <a:pt x="295" y="119"/>
                    <a:pt x="295" y="119"/>
                    <a:pt x="295" y="119"/>
                  </a:cubicBezTo>
                  <a:cubicBezTo>
                    <a:pt x="258" y="78"/>
                    <a:pt x="258" y="78"/>
                    <a:pt x="258" y="78"/>
                  </a:cubicBezTo>
                  <a:cubicBezTo>
                    <a:pt x="226" y="63"/>
                    <a:pt x="226" y="63"/>
                    <a:pt x="226" y="63"/>
                  </a:cubicBezTo>
                  <a:cubicBezTo>
                    <a:pt x="228" y="18"/>
                    <a:pt x="228" y="18"/>
                    <a:pt x="228" y="18"/>
                  </a:cubicBezTo>
                  <a:cubicBezTo>
                    <a:pt x="228" y="18"/>
                    <a:pt x="215" y="0"/>
                    <a:pt x="205" y="2"/>
                  </a:cubicBezTo>
                  <a:cubicBezTo>
                    <a:pt x="195" y="4"/>
                    <a:pt x="185" y="55"/>
                    <a:pt x="185" y="55"/>
                  </a:cubicBezTo>
                  <a:cubicBezTo>
                    <a:pt x="156" y="33"/>
                    <a:pt x="156" y="33"/>
                    <a:pt x="156" y="33"/>
                  </a:cubicBezTo>
                  <a:lnTo>
                    <a:pt x="95" y="18"/>
                  </a:lnTo>
                  <a:close/>
                </a:path>
              </a:pathLst>
            </a:custGeom>
            <a:solidFill>
              <a:schemeClr val="accent6"/>
            </a:solidFill>
            <a:ln w="6350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 dirty="0">
                <a:solidFill>
                  <a:schemeClr val="bg1"/>
                </a:solidFill>
              </a:endParaRPr>
            </a:p>
          </p:txBody>
        </p:sp>
        <p:sp>
          <p:nvSpPr>
            <p:cNvPr id="21" name="Sachsen-Anhalt"/>
            <p:cNvSpPr>
              <a:spLocks/>
            </p:cNvSpPr>
            <p:nvPr/>
          </p:nvSpPr>
          <p:spPr bwMode="gray">
            <a:xfrm>
              <a:off x="5794222" y="1784537"/>
              <a:ext cx="1235852" cy="1620684"/>
            </a:xfrm>
            <a:custGeom>
              <a:avLst/>
              <a:gdLst>
                <a:gd name="T0" fmla="*/ 1019 w 1614"/>
                <a:gd name="T1" fmla="*/ 1811 h 2114"/>
                <a:gd name="T2" fmla="*/ 1028 w 1614"/>
                <a:gd name="T3" fmla="*/ 1713 h 2114"/>
                <a:gd name="T4" fmla="*/ 996 w 1614"/>
                <a:gd name="T5" fmla="*/ 1581 h 2114"/>
                <a:gd name="T6" fmla="*/ 1014 w 1614"/>
                <a:gd name="T7" fmla="*/ 1521 h 2114"/>
                <a:gd name="T8" fmla="*/ 1142 w 1614"/>
                <a:gd name="T9" fmla="*/ 1446 h 2114"/>
                <a:gd name="T10" fmla="*/ 1406 w 1614"/>
                <a:gd name="T11" fmla="*/ 1361 h 2114"/>
                <a:gd name="T12" fmla="*/ 1536 w 1614"/>
                <a:gd name="T13" fmla="*/ 1414 h 2114"/>
                <a:gd name="T14" fmla="*/ 1601 w 1614"/>
                <a:gd name="T15" fmla="*/ 1275 h 2114"/>
                <a:gd name="T16" fmla="*/ 1567 w 1614"/>
                <a:gd name="T17" fmla="*/ 1156 h 2114"/>
                <a:gd name="T18" fmla="*/ 1369 w 1614"/>
                <a:gd name="T19" fmla="*/ 1080 h 2114"/>
                <a:gd name="T20" fmla="*/ 1143 w 1614"/>
                <a:gd name="T21" fmla="*/ 1017 h 2114"/>
                <a:gd name="T22" fmla="*/ 1055 w 1614"/>
                <a:gd name="T23" fmla="*/ 704 h 2114"/>
                <a:gd name="T24" fmla="*/ 977 w 1614"/>
                <a:gd name="T25" fmla="*/ 540 h 2114"/>
                <a:gd name="T26" fmla="*/ 999 w 1614"/>
                <a:gd name="T27" fmla="*/ 421 h 2114"/>
                <a:gd name="T28" fmla="*/ 929 w 1614"/>
                <a:gd name="T29" fmla="*/ 145 h 2114"/>
                <a:gd name="T30" fmla="*/ 766 w 1614"/>
                <a:gd name="T31" fmla="*/ 129 h 2114"/>
                <a:gd name="T32" fmla="*/ 644 w 1614"/>
                <a:gd name="T33" fmla="*/ 0 h 2114"/>
                <a:gd name="T34" fmla="*/ 547 w 1614"/>
                <a:gd name="T35" fmla="*/ 120 h 2114"/>
                <a:gd name="T36" fmla="*/ 330 w 1614"/>
                <a:gd name="T37" fmla="*/ 142 h 2114"/>
                <a:gd name="T38" fmla="*/ 208 w 1614"/>
                <a:gd name="T39" fmla="*/ 211 h 2114"/>
                <a:gd name="T40" fmla="*/ 132 w 1614"/>
                <a:gd name="T41" fmla="*/ 339 h 2114"/>
                <a:gd name="T42" fmla="*/ 264 w 1614"/>
                <a:gd name="T43" fmla="*/ 559 h 2114"/>
                <a:gd name="T44" fmla="*/ 258 w 1614"/>
                <a:gd name="T45" fmla="*/ 719 h 2114"/>
                <a:gd name="T46" fmla="*/ 270 w 1614"/>
                <a:gd name="T47" fmla="*/ 911 h 2114"/>
                <a:gd name="T48" fmla="*/ 79 w 1614"/>
                <a:gd name="T49" fmla="*/ 1002 h 2114"/>
                <a:gd name="T50" fmla="*/ 35 w 1614"/>
                <a:gd name="T51" fmla="*/ 1159 h 2114"/>
                <a:gd name="T52" fmla="*/ 0 w 1614"/>
                <a:gd name="T53" fmla="*/ 1297 h 2114"/>
                <a:gd name="T54" fmla="*/ 78 w 1614"/>
                <a:gd name="T55" fmla="*/ 1416 h 2114"/>
                <a:gd name="T56" fmla="*/ 243 w 1614"/>
                <a:gd name="T57" fmla="*/ 1627 h 2114"/>
                <a:gd name="T58" fmla="*/ 522 w 1614"/>
                <a:gd name="T59" fmla="*/ 1688 h 2114"/>
                <a:gd name="T60" fmla="*/ 562 w 1614"/>
                <a:gd name="T61" fmla="*/ 1869 h 2114"/>
                <a:gd name="T62" fmla="*/ 635 w 1614"/>
                <a:gd name="T63" fmla="*/ 1951 h 2114"/>
                <a:gd name="T64" fmla="*/ 739 w 1614"/>
                <a:gd name="T65" fmla="*/ 2007 h 2114"/>
                <a:gd name="T66" fmla="*/ 923 w 1614"/>
                <a:gd name="T67" fmla="*/ 2083 h 2114"/>
                <a:gd name="T68" fmla="*/ 1048 w 1614"/>
                <a:gd name="T69" fmla="*/ 2104 h 2114"/>
                <a:gd name="T70" fmla="*/ 1060 w 1614"/>
                <a:gd name="T71" fmla="*/ 1997 h 2114"/>
                <a:gd name="T72" fmla="*/ 1047 w 1614"/>
                <a:gd name="T73" fmla="*/ 1947 h 2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14" h="2114">
                  <a:moveTo>
                    <a:pt x="1047" y="1947"/>
                  </a:moveTo>
                  <a:cubicBezTo>
                    <a:pt x="1019" y="1811"/>
                    <a:pt x="1019" y="1811"/>
                    <a:pt x="1019" y="1811"/>
                  </a:cubicBezTo>
                  <a:cubicBezTo>
                    <a:pt x="989" y="1736"/>
                    <a:pt x="989" y="1736"/>
                    <a:pt x="989" y="1736"/>
                  </a:cubicBezTo>
                  <a:cubicBezTo>
                    <a:pt x="1028" y="1713"/>
                    <a:pt x="1028" y="1713"/>
                    <a:pt x="1028" y="1713"/>
                  </a:cubicBezTo>
                  <a:cubicBezTo>
                    <a:pt x="1003" y="1676"/>
                    <a:pt x="1003" y="1676"/>
                    <a:pt x="1003" y="1676"/>
                  </a:cubicBezTo>
                  <a:cubicBezTo>
                    <a:pt x="996" y="1581"/>
                    <a:pt x="996" y="1581"/>
                    <a:pt x="996" y="1581"/>
                  </a:cubicBezTo>
                  <a:cubicBezTo>
                    <a:pt x="1021" y="1558"/>
                    <a:pt x="1021" y="1558"/>
                    <a:pt x="1021" y="1558"/>
                  </a:cubicBezTo>
                  <a:cubicBezTo>
                    <a:pt x="1014" y="1521"/>
                    <a:pt x="1014" y="1521"/>
                    <a:pt x="1014" y="1521"/>
                  </a:cubicBezTo>
                  <a:cubicBezTo>
                    <a:pt x="1042" y="1493"/>
                    <a:pt x="1042" y="1493"/>
                    <a:pt x="1042" y="1493"/>
                  </a:cubicBezTo>
                  <a:cubicBezTo>
                    <a:pt x="1042" y="1493"/>
                    <a:pt x="1105" y="1460"/>
                    <a:pt x="1142" y="1446"/>
                  </a:cubicBezTo>
                  <a:cubicBezTo>
                    <a:pt x="1179" y="1433"/>
                    <a:pt x="1281" y="1433"/>
                    <a:pt x="1281" y="1433"/>
                  </a:cubicBezTo>
                  <a:cubicBezTo>
                    <a:pt x="1406" y="1361"/>
                    <a:pt x="1406" y="1361"/>
                    <a:pt x="1406" y="1361"/>
                  </a:cubicBezTo>
                  <a:cubicBezTo>
                    <a:pt x="1497" y="1405"/>
                    <a:pt x="1497" y="1405"/>
                    <a:pt x="1497" y="1405"/>
                  </a:cubicBezTo>
                  <a:cubicBezTo>
                    <a:pt x="1536" y="1414"/>
                    <a:pt x="1536" y="1414"/>
                    <a:pt x="1536" y="1414"/>
                  </a:cubicBezTo>
                  <a:cubicBezTo>
                    <a:pt x="1614" y="1334"/>
                    <a:pt x="1614" y="1334"/>
                    <a:pt x="1614" y="1334"/>
                  </a:cubicBezTo>
                  <a:cubicBezTo>
                    <a:pt x="1601" y="1275"/>
                    <a:pt x="1601" y="1275"/>
                    <a:pt x="1601" y="1275"/>
                  </a:cubicBezTo>
                  <a:cubicBezTo>
                    <a:pt x="1604" y="1159"/>
                    <a:pt x="1604" y="1159"/>
                    <a:pt x="1604" y="1159"/>
                  </a:cubicBezTo>
                  <a:cubicBezTo>
                    <a:pt x="1567" y="1156"/>
                    <a:pt x="1567" y="1156"/>
                    <a:pt x="1567" y="1156"/>
                  </a:cubicBezTo>
                  <a:cubicBezTo>
                    <a:pt x="1466" y="1090"/>
                    <a:pt x="1466" y="1090"/>
                    <a:pt x="1466" y="1090"/>
                  </a:cubicBezTo>
                  <a:cubicBezTo>
                    <a:pt x="1369" y="1080"/>
                    <a:pt x="1369" y="1080"/>
                    <a:pt x="1369" y="1080"/>
                  </a:cubicBezTo>
                  <a:cubicBezTo>
                    <a:pt x="1181" y="1005"/>
                    <a:pt x="1181" y="1005"/>
                    <a:pt x="1181" y="1005"/>
                  </a:cubicBezTo>
                  <a:cubicBezTo>
                    <a:pt x="1143" y="1017"/>
                    <a:pt x="1143" y="1017"/>
                    <a:pt x="1143" y="1017"/>
                  </a:cubicBezTo>
                  <a:cubicBezTo>
                    <a:pt x="1143" y="1017"/>
                    <a:pt x="1074" y="973"/>
                    <a:pt x="1021" y="923"/>
                  </a:cubicBezTo>
                  <a:cubicBezTo>
                    <a:pt x="967" y="873"/>
                    <a:pt x="1036" y="747"/>
                    <a:pt x="1055" y="704"/>
                  </a:cubicBezTo>
                  <a:cubicBezTo>
                    <a:pt x="1074" y="660"/>
                    <a:pt x="1058" y="534"/>
                    <a:pt x="1058" y="534"/>
                  </a:cubicBezTo>
                  <a:cubicBezTo>
                    <a:pt x="977" y="540"/>
                    <a:pt x="977" y="540"/>
                    <a:pt x="977" y="540"/>
                  </a:cubicBezTo>
                  <a:cubicBezTo>
                    <a:pt x="964" y="506"/>
                    <a:pt x="964" y="506"/>
                    <a:pt x="964" y="506"/>
                  </a:cubicBezTo>
                  <a:cubicBezTo>
                    <a:pt x="999" y="421"/>
                    <a:pt x="999" y="421"/>
                    <a:pt x="999" y="421"/>
                  </a:cubicBezTo>
                  <a:cubicBezTo>
                    <a:pt x="1005" y="182"/>
                    <a:pt x="1005" y="182"/>
                    <a:pt x="1005" y="182"/>
                  </a:cubicBezTo>
                  <a:cubicBezTo>
                    <a:pt x="929" y="145"/>
                    <a:pt x="929" y="145"/>
                    <a:pt x="929" y="145"/>
                  </a:cubicBezTo>
                  <a:cubicBezTo>
                    <a:pt x="867" y="173"/>
                    <a:pt x="867" y="173"/>
                    <a:pt x="867" y="173"/>
                  </a:cubicBezTo>
                  <a:cubicBezTo>
                    <a:pt x="766" y="129"/>
                    <a:pt x="766" y="129"/>
                    <a:pt x="766" y="129"/>
                  </a:cubicBezTo>
                  <a:cubicBezTo>
                    <a:pt x="766" y="79"/>
                    <a:pt x="766" y="79"/>
                    <a:pt x="766" y="79"/>
                  </a:cubicBezTo>
                  <a:cubicBezTo>
                    <a:pt x="644" y="0"/>
                    <a:pt x="644" y="0"/>
                    <a:pt x="644" y="0"/>
                  </a:cubicBezTo>
                  <a:cubicBezTo>
                    <a:pt x="562" y="60"/>
                    <a:pt x="562" y="60"/>
                    <a:pt x="562" y="60"/>
                  </a:cubicBezTo>
                  <a:cubicBezTo>
                    <a:pt x="547" y="120"/>
                    <a:pt x="547" y="120"/>
                    <a:pt x="547" y="120"/>
                  </a:cubicBezTo>
                  <a:cubicBezTo>
                    <a:pt x="459" y="186"/>
                    <a:pt x="459" y="186"/>
                    <a:pt x="459" y="186"/>
                  </a:cubicBezTo>
                  <a:cubicBezTo>
                    <a:pt x="330" y="142"/>
                    <a:pt x="330" y="142"/>
                    <a:pt x="330" y="142"/>
                  </a:cubicBezTo>
                  <a:cubicBezTo>
                    <a:pt x="251" y="145"/>
                    <a:pt x="251" y="145"/>
                    <a:pt x="251" y="145"/>
                  </a:cubicBezTo>
                  <a:cubicBezTo>
                    <a:pt x="208" y="211"/>
                    <a:pt x="208" y="211"/>
                    <a:pt x="208" y="211"/>
                  </a:cubicBezTo>
                  <a:cubicBezTo>
                    <a:pt x="107" y="208"/>
                    <a:pt x="107" y="208"/>
                    <a:pt x="107" y="208"/>
                  </a:cubicBezTo>
                  <a:cubicBezTo>
                    <a:pt x="132" y="339"/>
                    <a:pt x="132" y="339"/>
                    <a:pt x="132" y="339"/>
                  </a:cubicBezTo>
                  <a:cubicBezTo>
                    <a:pt x="176" y="364"/>
                    <a:pt x="176" y="364"/>
                    <a:pt x="176" y="364"/>
                  </a:cubicBezTo>
                  <a:cubicBezTo>
                    <a:pt x="264" y="559"/>
                    <a:pt x="264" y="559"/>
                    <a:pt x="264" y="559"/>
                  </a:cubicBezTo>
                  <a:cubicBezTo>
                    <a:pt x="264" y="559"/>
                    <a:pt x="211" y="612"/>
                    <a:pt x="251" y="644"/>
                  </a:cubicBezTo>
                  <a:cubicBezTo>
                    <a:pt x="292" y="675"/>
                    <a:pt x="286" y="694"/>
                    <a:pt x="258" y="719"/>
                  </a:cubicBezTo>
                  <a:cubicBezTo>
                    <a:pt x="230" y="744"/>
                    <a:pt x="286" y="776"/>
                    <a:pt x="311" y="817"/>
                  </a:cubicBezTo>
                  <a:cubicBezTo>
                    <a:pt x="336" y="857"/>
                    <a:pt x="321" y="860"/>
                    <a:pt x="270" y="911"/>
                  </a:cubicBezTo>
                  <a:cubicBezTo>
                    <a:pt x="220" y="961"/>
                    <a:pt x="245" y="999"/>
                    <a:pt x="245" y="999"/>
                  </a:cubicBezTo>
                  <a:cubicBezTo>
                    <a:pt x="79" y="1002"/>
                    <a:pt x="79" y="1002"/>
                    <a:pt x="79" y="1002"/>
                  </a:cubicBezTo>
                  <a:cubicBezTo>
                    <a:pt x="0" y="1046"/>
                    <a:pt x="0" y="1046"/>
                    <a:pt x="0" y="1046"/>
                  </a:cubicBezTo>
                  <a:cubicBezTo>
                    <a:pt x="0" y="1046"/>
                    <a:pt x="19" y="1105"/>
                    <a:pt x="35" y="1159"/>
                  </a:cubicBezTo>
                  <a:cubicBezTo>
                    <a:pt x="51" y="1212"/>
                    <a:pt x="7" y="1218"/>
                    <a:pt x="7" y="1218"/>
                  </a:cubicBezTo>
                  <a:cubicBezTo>
                    <a:pt x="0" y="1297"/>
                    <a:pt x="0" y="1297"/>
                    <a:pt x="0" y="1297"/>
                  </a:cubicBezTo>
                  <a:cubicBezTo>
                    <a:pt x="67" y="1425"/>
                    <a:pt x="67" y="1425"/>
                    <a:pt x="67" y="1425"/>
                  </a:cubicBezTo>
                  <a:cubicBezTo>
                    <a:pt x="78" y="1416"/>
                    <a:pt x="78" y="1416"/>
                    <a:pt x="78" y="1416"/>
                  </a:cubicBezTo>
                  <a:cubicBezTo>
                    <a:pt x="237" y="1437"/>
                    <a:pt x="237" y="1437"/>
                    <a:pt x="237" y="1437"/>
                  </a:cubicBezTo>
                  <a:cubicBezTo>
                    <a:pt x="243" y="1627"/>
                    <a:pt x="243" y="1627"/>
                    <a:pt x="243" y="1627"/>
                  </a:cubicBezTo>
                  <a:cubicBezTo>
                    <a:pt x="445" y="1636"/>
                    <a:pt x="445" y="1636"/>
                    <a:pt x="445" y="1636"/>
                  </a:cubicBezTo>
                  <a:cubicBezTo>
                    <a:pt x="445" y="1636"/>
                    <a:pt x="510" y="1655"/>
                    <a:pt x="522" y="1688"/>
                  </a:cubicBezTo>
                  <a:cubicBezTo>
                    <a:pt x="534" y="1722"/>
                    <a:pt x="491" y="1802"/>
                    <a:pt x="497" y="1835"/>
                  </a:cubicBezTo>
                  <a:cubicBezTo>
                    <a:pt x="504" y="1869"/>
                    <a:pt x="552" y="1850"/>
                    <a:pt x="562" y="1869"/>
                  </a:cubicBezTo>
                  <a:cubicBezTo>
                    <a:pt x="571" y="1887"/>
                    <a:pt x="574" y="1945"/>
                    <a:pt x="574" y="1945"/>
                  </a:cubicBezTo>
                  <a:cubicBezTo>
                    <a:pt x="635" y="1951"/>
                    <a:pt x="635" y="1951"/>
                    <a:pt x="635" y="1951"/>
                  </a:cubicBezTo>
                  <a:cubicBezTo>
                    <a:pt x="706" y="1942"/>
                    <a:pt x="706" y="1942"/>
                    <a:pt x="706" y="1942"/>
                  </a:cubicBezTo>
                  <a:cubicBezTo>
                    <a:pt x="706" y="1942"/>
                    <a:pt x="699" y="1997"/>
                    <a:pt x="739" y="2007"/>
                  </a:cubicBezTo>
                  <a:cubicBezTo>
                    <a:pt x="779" y="2016"/>
                    <a:pt x="816" y="1991"/>
                    <a:pt x="834" y="1997"/>
                  </a:cubicBezTo>
                  <a:cubicBezTo>
                    <a:pt x="852" y="2003"/>
                    <a:pt x="923" y="2083"/>
                    <a:pt x="923" y="2083"/>
                  </a:cubicBezTo>
                  <a:cubicBezTo>
                    <a:pt x="1018" y="2074"/>
                    <a:pt x="1018" y="2074"/>
                    <a:pt x="1018" y="2074"/>
                  </a:cubicBezTo>
                  <a:cubicBezTo>
                    <a:pt x="1018" y="2074"/>
                    <a:pt x="1027" y="2114"/>
                    <a:pt x="1048" y="2104"/>
                  </a:cubicBezTo>
                  <a:cubicBezTo>
                    <a:pt x="1070" y="2095"/>
                    <a:pt x="1088" y="2049"/>
                    <a:pt x="1088" y="2028"/>
                  </a:cubicBezTo>
                  <a:cubicBezTo>
                    <a:pt x="1088" y="2007"/>
                    <a:pt x="1060" y="1997"/>
                    <a:pt x="1060" y="1997"/>
                  </a:cubicBezTo>
                  <a:cubicBezTo>
                    <a:pt x="1076" y="1953"/>
                    <a:pt x="1076" y="1953"/>
                    <a:pt x="1076" y="1953"/>
                  </a:cubicBezTo>
                  <a:lnTo>
                    <a:pt x="1047" y="1947"/>
                  </a:lnTo>
                  <a:close/>
                </a:path>
              </a:pathLst>
            </a:custGeom>
            <a:solidFill>
              <a:schemeClr val="accent6"/>
            </a:solidFill>
            <a:ln w="6350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 dirty="0">
                <a:solidFill>
                  <a:schemeClr val="bg1"/>
                </a:solidFill>
              </a:endParaRPr>
            </a:p>
          </p:txBody>
        </p:sp>
        <p:sp>
          <p:nvSpPr>
            <p:cNvPr id="22" name="Thüringen"/>
            <p:cNvSpPr>
              <a:spLocks/>
            </p:cNvSpPr>
            <p:nvPr/>
          </p:nvSpPr>
          <p:spPr bwMode="gray">
            <a:xfrm>
              <a:off x="5446323" y="2869040"/>
              <a:ext cx="1351144" cy="1080456"/>
            </a:xfrm>
            <a:custGeom>
              <a:avLst/>
              <a:gdLst>
                <a:gd name="T0" fmla="*/ 1363 w 1764"/>
                <a:gd name="T1" fmla="*/ 1002 h 1408"/>
                <a:gd name="T2" fmla="*/ 1460 w 1764"/>
                <a:gd name="T3" fmla="*/ 1053 h 1408"/>
                <a:gd name="T4" fmla="*/ 1539 w 1764"/>
                <a:gd name="T5" fmla="*/ 1009 h 1408"/>
                <a:gd name="T6" fmla="*/ 1511 w 1764"/>
                <a:gd name="T7" fmla="*/ 875 h 1408"/>
                <a:gd name="T8" fmla="*/ 1764 w 1764"/>
                <a:gd name="T9" fmla="*/ 710 h 1408"/>
                <a:gd name="T10" fmla="*/ 1671 w 1764"/>
                <a:gd name="T11" fmla="*/ 592 h 1408"/>
                <a:gd name="T12" fmla="*/ 1529 w 1764"/>
                <a:gd name="T13" fmla="*/ 537 h 1408"/>
                <a:gd name="T14" fmla="*/ 1541 w 1764"/>
                <a:gd name="T15" fmla="*/ 612 h 1408"/>
                <a:gd name="T16" fmla="*/ 1471 w 1764"/>
                <a:gd name="T17" fmla="*/ 658 h 1408"/>
                <a:gd name="T18" fmla="*/ 1287 w 1764"/>
                <a:gd name="T19" fmla="*/ 581 h 1408"/>
                <a:gd name="T20" fmla="*/ 1159 w 1764"/>
                <a:gd name="T21" fmla="*/ 526 h 1408"/>
                <a:gd name="T22" fmla="*/ 1027 w 1764"/>
                <a:gd name="T23" fmla="*/ 529 h 1408"/>
                <a:gd name="T24" fmla="*/ 950 w 1764"/>
                <a:gd name="T25" fmla="*/ 419 h 1408"/>
                <a:gd name="T26" fmla="*/ 898 w 1764"/>
                <a:gd name="T27" fmla="*/ 220 h 1408"/>
                <a:gd name="T28" fmla="*/ 690 w 1764"/>
                <a:gd name="T29" fmla="*/ 21 h 1408"/>
                <a:gd name="T30" fmla="*/ 501 w 1764"/>
                <a:gd name="T31" fmla="*/ 24 h 1408"/>
                <a:gd name="T32" fmla="*/ 360 w 1764"/>
                <a:gd name="T33" fmla="*/ 43 h 1408"/>
                <a:gd name="T34" fmla="*/ 50 w 1764"/>
                <a:gd name="T35" fmla="*/ 261 h 1408"/>
                <a:gd name="T36" fmla="*/ 225 w 1764"/>
                <a:gd name="T37" fmla="*/ 460 h 1408"/>
                <a:gd name="T38" fmla="*/ 173 w 1764"/>
                <a:gd name="T39" fmla="*/ 577 h 1408"/>
                <a:gd name="T40" fmla="*/ 113 w 1764"/>
                <a:gd name="T41" fmla="*/ 635 h 1408"/>
                <a:gd name="T42" fmla="*/ 113 w 1764"/>
                <a:gd name="T43" fmla="*/ 758 h 1408"/>
                <a:gd name="T44" fmla="*/ 61 w 1764"/>
                <a:gd name="T45" fmla="*/ 816 h 1408"/>
                <a:gd name="T46" fmla="*/ 61 w 1764"/>
                <a:gd name="T47" fmla="*/ 1005 h 1408"/>
                <a:gd name="T48" fmla="*/ 124 w 1764"/>
                <a:gd name="T49" fmla="*/ 967 h 1408"/>
                <a:gd name="T50" fmla="*/ 113 w 1764"/>
                <a:gd name="T51" fmla="*/ 1016 h 1408"/>
                <a:gd name="T52" fmla="*/ 117 w 1764"/>
                <a:gd name="T53" fmla="*/ 1133 h 1408"/>
                <a:gd name="T54" fmla="*/ 290 w 1764"/>
                <a:gd name="T55" fmla="*/ 1162 h 1408"/>
                <a:gd name="T56" fmla="*/ 452 w 1764"/>
                <a:gd name="T57" fmla="*/ 1310 h 1408"/>
                <a:gd name="T58" fmla="*/ 632 w 1764"/>
                <a:gd name="T59" fmla="*/ 1378 h 1408"/>
                <a:gd name="T60" fmla="*/ 656 w 1764"/>
                <a:gd name="T61" fmla="*/ 1258 h 1408"/>
                <a:gd name="T62" fmla="*/ 812 w 1764"/>
                <a:gd name="T63" fmla="*/ 1348 h 1408"/>
                <a:gd name="T64" fmla="*/ 890 w 1764"/>
                <a:gd name="T65" fmla="*/ 1168 h 1408"/>
                <a:gd name="T66" fmla="*/ 1046 w 1764"/>
                <a:gd name="T67" fmla="*/ 1252 h 1408"/>
                <a:gd name="T68" fmla="*/ 1250 w 1764"/>
                <a:gd name="T69" fmla="*/ 1234 h 1408"/>
                <a:gd name="T70" fmla="*/ 1296 w 1764"/>
                <a:gd name="T71" fmla="*/ 1109 h 1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64" h="1408">
                  <a:moveTo>
                    <a:pt x="1296" y="1109"/>
                  </a:moveTo>
                  <a:cubicBezTo>
                    <a:pt x="1363" y="1002"/>
                    <a:pt x="1363" y="1002"/>
                    <a:pt x="1363" y="1002"/>
                  </a:cubicBezTo>
                  <a:cubicBezTo>
                    <a:pt x="1402" y="1067"/>
                    <a:pt x="1402" y="1067"/>
                    <a:pt x="1402" y="1067"/>
                  </a:cubicBezTo>
                  <a:cubicBezTo>
                    <a:pt x="1460" y="1053"/>
                    <a:pt x="1460" y="1053"/>
                    <a:pt x="1460" y="1053"/>
                  </a:cubicBezTo>
                  <a:cubicBezTo>
                    <a:pt x="1465" y="1009"/>
                    <a:pt x="1465" y="1009"/>
                    <a:pt x="1465" y="1009"/>
                  </a:cubicBezTo>
                  <a:cubicBezTo>
                    <a:pt x="1539" y="1009"/>
                    <a:pt x="1539" y="1009"/>
                    <a:pt x="1539" y="1009"/>
                  </a:cubicBezTo>
                  <a:cubicBezTo>
                    <a:pt x="1539" y="1009"/>
                    <a:pt x="1569" y="997"/>
                    <a:pt x="1560" y="956"/>
                  </a:cubicBezTo>
                  <a:cubicBezTo>
                    <a:pt x="1551" y="914"/>
                    <a:pt x="1509" y="923"/>
                    <a:pt x="1511" y="875"/>
                  </a:cubicBezTo>
                  <a:cubicBezTo>
                    <a:pt x="1514" y="826"/>
                    <a:pt x="1565" y="812"/>
                    <a:pt x="1565" y="812"/>
                  </a:cubicBezTo>
                  <a:cubicBezTo>
                    <a:pt x="1764" y="710"/>
                    <a:pt x="1764" y="710"/>
                    <a:pt x="1764" y="710"/>
                  </a:cubicBezTo>
                  <a:cubicBezTo>
                    <a:pt x="1739" y="640"/>
                    <a:pt x="1739" y="640"/>
                    <a:pt x="1739" y="640"/>
                  </a:cubicBezTo>
                  <a:cubicBezTo>
                    <a:pt x="1671" y="592"/>
                    <a:pt x="1671" y="592"/>
                    <a:pt x="1671" y="592"/>
                  </a:cubicBezTo>
                  <a:cubicBezTo>
                    <a:pt x="1674" y="564"/>
                    <a:pt x="1674" y="564"/>
                    <a:pt x="1674" y="564"/>
                  </a:cubicBezTo>
                  <a:cubicBezTo>
                    <a:pt x="1529" y="537"/>
                    <a:pt x="1529" y="537"/>
                    <a:pt x="1529" y="537"/>
                  </a:cubicBezTo>
                  <a:cubicBezTo>
                    <a:pt x="1513" y="581"/>
                    <a:pt x="1513" y="581"/>
                    <a:pt x="1513" y="581"/>
                  </a:cubicBezTo>
                  <a:cubicBezTo>
                    <a:pt x="1513" y="581"/>
                    <a:pt x="1541" y="591"/>
                    <a:pt x="1541" y="612"/>
                  </a:cubicBezTo>
                  <a:cubicBezTo>
                    <a:pt x="1541" y="633"/>
                    <a:pt x="1523" y="679"/>
                    <a:pt x="1501" y="688"/>
                  </a:cubicBezTo>
                  <a:cubicBezTo>
                    <a:pt x="1480" y="698"/>
                    <a:pt x="1471" y="658"/>
                    <a:pt x="1471" y="658"/>
                  </a:cubicBezTo>
                  <a:cubicBezTo>
                    <a:pt x="1376" y="667"/>
                    <a:pt x="1376" y="667"/>
                    <a:pt x="1376" y="667"/>
                  </a:cubicBezTo>
                  <a:cubicBezTo>
                    <a:pt x="1376" y="667"/>
                    <a:pt x="1305" y="587"/>
                    <a:pt x="1287" y="581"/>
                  </a:cubicBezTo>
                  <a:cubicBezTo>
                    <a:pt x="1269" y="575"/>
                    <a:pt x="1232" y="600"/>
                    <a:pt x="1192" y="591"/>
                  </a:cubicBezTo>
                  <a:cubicBezTo>
                    <a:pt x="1152" y="581"/>
                    <a:pt x="1159" y="526"/>
                    <a:pt x="1159" y="526"/>
                  </a:cubicBezTo>
                  <a:cubicBezTo>
                    <a:pt x="1088" y="535"/>
                    <a:pt x="1088" y="535"/>
                    <a:pt x="1088" y="535"/>
                  </a:cubicBezTo>
                  <a:cubicBezTo>
                    <a:pt x="1027" y="529"/>
                    <a:pt x="1027" y="529"/>
                    <a:pt x="1027" y="529"/>
                  </a:cubicBezTo>
                  <a:cubicBezTo>
                    <a:pt x="1027" y="529"/>
                    <a:pt x="1024" y="471"/>
                    <a:pt x="1015" y="453"/>
                  </a:cubicBezTo>
                  <a:cubicBezTo>
                    <a:pt x="1005" y="434"/>
                    <a:pt x="957" y="453"/>
                    <a:pt x="950" y="419"/>
                  </a:cubicBezTo>
                  <a:cubicBezTo>
                    <a:pt x="944" y="386"/>
                    <a:pt x="987" y="306"/>
                    <a:pt x="975" y="272"/>
                  </a:cubicBezTo>
                  <a:cubicBezTo>
                    <a:pt x="963" y="239"/>
                    <a:pt x="898" y="220"/>
                    <a:pt x="898" y="220"/>
                  </a:cubicBezTo>
                  <a:cubicBezTo>
                    <a:pt x="696" y="211"/>
                    <a:pt x="696" y="211"/>
                    <a:pt x="696" y="211"/>
                  </a:cubicBezTo>
                  <a:cubicBezTo>
                    <a:pt x="690" y="21"/>
                    <a:pt x="690" y="21"/>
                    <a:pt x="690" y="21"/>
                  </a:cubicBezTo>
                  <a:cubicBezTo>
                    <a:pt x="531" y="0"/>
                    <a:pt x="531" y="0"/>
                    <a:pt x="531" y="0"/>
                  </a:cubicBezTo>
                  <a:cubicBezTo>
                    <a:pt x="501" y="24"/>
                    <a:pt x="501" y="24"/>
                    <a:pt x="501" y="24"/>
                  </a:cubicBezTo>
                  <a:cubicBezTo>
                    <a:pt x="497" y="95"/>
                    <a:pt x="497" y="95"/>
                    <a:pt x="497" y="95"/>
                  </a:cubicBezTo>
                  <a:cubicBezTo>
                    <a:pt x="360" y="43"/>
                    <a:pt x="360" y="43"/>
                    <a:pt x="360" y="43"/>
                  </a:cubicBezTo>
                  <a:cubicBezTo>
                    <a:pt x="253" y="171"/>
                    <a:pt x="253" y="171"/>
                    <a:pt x="253" y="171"/>
                  </a:cubicBezTo>
                  <a:cubicBezTo>
                    <a:pt x="50" y="261"/>
                    <a:pt x="50" y="261"/>
                    <a:pt x="50" y="261"/>
                  </a:cubicBezTo>
                  <a:cubicBezTo>
                    <a:pt x="77" y="347"/>
                    <a:pt x="77" y="347"/>
                    <a:pt x="77" y="347"/>
                  </a:cubicBezTo>
                  <a:cubicBezTo>
                    <a:pt x="225" y="460"/>
                    <a:pt x="225" y="460"/>
                    <a:pt x="225" y="460"/>
                  </a:cubicBezTo>
                  <a:cubicBezTo>
                    <a:pt x="228" y="517"/>
                    <a:pt x="228" y="517"/>
                    <a:pt x="228" y="517"/>
                  </a:cubicBezTo>
                  <a:cubicBezTo>
                    <a:pt x="173" y="577"/>
                    <a:pt x="173" y="577"/>
                    <a:pt x="173" y="577"/>
                  </a:cubicBezTo>
                  <a:cubicBezTo>
                    <a:pt x="173" y="577"/>
                    <a:pt x="233" y="610"/>
                    <a:pt x="231" y="632"/>
                  </a:cubicBezTo>
                  <a:cubicBezTo>
                    <a:pt x="228" y="654"/>
                    <a:pt x="132" y="616"/>
                    <a:pt x="113" y="635"/>
                  </a:cubicBezTo>
                  <a:cubicBezTo>
                    <a:pt x="94" y="654"/>
                    <a:pt x="72" y="728"/>
                    <a:pt x="72" y="728"/>
                  </a:cubicBezTo>
                  <a:cubicBezTo>
                    <a:pt x="113" y="758"/>
                    <a:pt x="113" y="758"/>
                    <a:pt x="113" y="758"/>
                  </a:cubicBezTo>
                  <a:cubicBezTo>
                    <a:pt x="116" y="805"/>
                    <a:pt x="116" y="805"/>
                    <a:pt x="116" y="805"/>
                  </a:cubicBezTo>
                  <a:cubicBezTo>
                    <a:pt x="61" y="816"/>
                    <a:pt x="61" y="816"/>
                    <a:pt x="61" y="816"/>
                  </a:cubicBezTo>
                  <a:cubicBezTo>
                    <a:pt x="0" y="999"/>
                    <a:pt x="0" y="999"/>
                    <a:pt x="0" y="999"/>
                  </a:cubicBezTo>
                  <a:cubicBezTo>
                    <a:pt x="61" y="1005"/>
                    <a:pt x="61" y="1005"/>
                    <a:pt x="61" y="1005"/>
                  </a:cubicBezTo>
                  <a:cubicBezTo>
                    <a:pt x="72" y="975"/>
                    <a:pt x="72" y="975"/>
                    <a:pt x="72" y="975"/>
                  </a:cubicBezTo>
                  <a:cubicBezTo>
                    <a:pt x="124" y="967"/>
                    <a:pt x="124" y="967"/>
                    <a:pt x="124" y="967"/>
                  </a:cubicBezTo>
                  <a:cubicBezTo>
                    <a:pt x="148" y="1010"/>
                    <a:pt x="148" y="1010"/>
                    <a:pt x="148" y="1010"/>
                  </a:cubicBezTo>
                  <a:cubicBezTo>
                    <a:pt x="113" y="1016"/>
                    <a:pt x="113" y="1016"/>
                    <a:pt x="113" y="1016"/>
                  </a:cubicBezTo>
                  <a:cubicBezTo>
                    <a:pt x="113" y="1016"/>
                    <a:pt x="116" y="1038"/>
                    <a:pt x="118" y="1057"/>
                  </a:cubicBezTo>
                  <a:cubicBezTo>
                    <a:pt x="120" y="1066"/>
                    <a:pt x="118" y="1100"/>
                    <a:pt x="117" y="1133"/>
                  </a:cubicBezTo>
                  <a:cubicBezTo>
                    <a:pt x="134" y="1107"/>
                    <a:pt x="151" y="1084"/>
                    <a:pt x="170" y="1084"/>
                  </a:cubicBezTo>
                  <a:cubicBezTo>
                    <a:pt x="212" y="1084"/>
                    <a:pt x="290" y="1162"/>
                    <a:pt x="290" y="1162"/>
                  </a:cubicBezTo>
                  <a:cubicBezTo>
                    <a:pt x="344" y="1246"/>
                    <a:pt x="344" y="1246"/>
                    <a:pt x="344" y="1246"/>
                  </a:cubicBezTo>
                  <a:cubicBezTo>
                    <a:pt x="452" y="1310"/>
                    <a:pt x="452" y="1310"/>
                    <a:pt x="452" y="1310"/>
                  </a:cubicBezTo>
                  <a:cubicBezTo>
                    <a:pt x="482" y="1408"/>
                    <a:pt x="482" y="1408"/>
                    <a:pt x="482" y="1408"/>
                  </a:cubicBezTo>
                  <a:cubicBezTo>
                    <a:pt x="482" y="1408"/>
                    <a:pt x="626" y="1396"/>
                    <a:pt x="632" y="1378"/>
                  </a:cubicBezTo>
                  <a:cubicBezTo>
                    <a:pt x="638" y="1360"/>
                    <a:pt x="536" y="1336"/>
                    <a:pt x="542" y="1306"/>
                  </a:cubicBezTo>
                  <a:cubicBezTo>
                    <a:pt x="548" y="1276"/>
                    <a:pt x="608" y="1258"/>
                    <a:pt x="656" y="1258"/>
                  </a:cubicBezTo>
                  <a:cubicBezTo>
                    <a:pt x="704" y="1258"/>
                    <a:pt x="806" y="1282"/>
                    <a:pt x="806" y="1282"/>
                  </a:cubicBezTo>
                  <a:cubicBezTo>
                    <a:pt x="812" y="1348"/>
                    <a:pt x="812" y="1348"/>
                    <a:pt x="812" y="1348"/>
                  </a:cubicBezTo>
                  <a:cubicBezTo>
                    <a:pt x="812" y="1348"/>
                    <a:pt x="860" y="1384"/>
                    <a:pt x="878" y="1354"/>
                  </a:cubicBezTo>
                  <a:cubicBezTo>
                    <a:pt x="896" y="1324"/>
                    <a:pt x="872" y="1228"/>
                    <a:pt x="890" y="1168"/>
                  </a:cubicBezTo>
                  <a:cubicBezTo>
                    <a:pt x="908" y="1108"/>
                    <a:pt x="986" y="1144"/>
                    <a:pt x="986" y="1144"/>
                  </a:cubicBezTo>
                  <a:cubicBezTo>
                    <a:pt x="1046" y="1252"/>
                    <a:pt x="1046" y="1252"/>
                    <a:pt x="1046" y="1252"/>
                  </a:cubicBezTo>
                  <a:cubicBezTo>
                    <a:pt x="1106" y="1234"/>
                    <a:pt x="1106" y="1234"/>
                    <a:pt x="1106" y="1234"/>
                  </a:cubicBezTo>
                  <a:cubicBezTo>
                    <a:pt x="1250" y="1234"/>
                    <a:pt x="1250" y="1234"/>
                    <a:pt x="1250" y="1234"/>
                  </a:cubicBezTo>
                  <a:cubicBezTo>
                    <a:pt x="1296" y="1206"/>
                    <a:pt x="1296" y="1206"/>
                    <a:pt x="1296" y="1206"/>
                  </a:cubicBezTo>
                  <a:lnTo>
                    <a:pt x="1296" y="1109"/>
                  </a:lnTo>
                  <a:close/>
                </a:path>
              </a:pathLst>
            </a:custGeom>
            <a:solidFill>
              <a:schemeClr val="accent6"/>
            </a:solidFill>
            <a:ln w="6350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 dirty="0">
                <a:solidFill>
                  <a:schemeClr val="bg1"/>
                </a:solidFill>
              </a:endParaRPr>
            </a:p>
          </p:txBody>
        </p:sp>
        <p:sp>
          <p:nvSpPr>
            <p:cNvPr id="23" name="Bayern"/>
            <p:cNvSpPr>
              <a:spLocks/>
            </p:cNvSpPr>
            <p:nvPr/>
          </p:nvSpPr>
          <p:spPr bwMode="gray">
            <a:xfrm>
              <a:off x="5005380" y="3700627"/>
              <a:ext cx="2431251" cy="2541297"/>
            </a:xfrm>
            <a:custGeom>
              <a:avLst/>
              <a:gdLst>
                <a:gd name="T0" fmla="*/ 1998 w 3172"/>
                <a:gd name="T1" fmla="*/ 227 h 3315"/>
                <a:gd name="T2" fmla="*/ 1920 w 3172"/>
                <a:gd name="T3" fmla="*/ 150 h 3315"/>
                <a:gd name="T4" fmla="*/ 1870 w 3172"/>
                <a:gd name="T5" fmla="*/ 122 h 3315"/>
                <a:gd name="T6" fmla="*/ 1680 w 3172"/>
                <a:gd name="T7" fmla="*/ 150 h 3315"/>
                <a:gd name="T8" fmla="*/ 1560 w 3172"/>
                <a:gd name="T9" fmla="*/ 60 h 3315"/>
                <a:gd name="T10" fmla="*/ 1452 w 3172"/>
                <a:gd name="T11" fmla="*/ 270 h 3315"/>
                <a:gd name="T12" fmla="*/ 1380 w 3172"/>
                <a:gd name="T13" fmla="*/ 198 h 3315"/>
                <a:gd name="T14" fmla="*/ 1116 w 3172"/>
                <a:gd name="T15" fmla="*/ 222 h 3315"/>
                <a:gd name="T16" fmla="*/ 1056 w 3172"/>
                <a:gd name="T17" fmla="*/ 324 h 3315"/>
                <a:gd name="T18" fmla="*/ 918 w 3172"/>
                <a:gd name="T19" fmla="*/ 162 h 3315"/>
                <a:gd name="T20" fmla="*/ 744 w 3172"/>
                <a:gd name="T21" fmla="*/ 0 h 3315"/>
                <a:gd name="T22" fmla="*/ 510 w 3172"/>
                <a:gd name="T23" fmla="*/ 126 h 3315"/>
                <a:gd name="T24" fmla="*/ 408 w 3172"/>
                <a:gd name="T25" fmla="*/ 336 h 3315"/>
                <a:gd name="T26" fmla="*/ 354 w 3172"/>
                <a:gd name="T27" fmla="*/ 444 h 3315"/>
                <a:gd name="T28" fmla="*/ 240 w 3172"/>
                <a:gd name="T29" fmla="*/ 408 h 3315"/>
                <a:gd name="T30" fmla="*/ 108 w 3172"/>
                <a:gd name="T31" fmla="*/ 456 h 3315"/>
                <a:gd name="T32" fmla="*/ 0 w 3172"/>
                <a:gd name="T33" fmla="*/ 480 h 3315"/>
                <a:gd name="T34" fmla="*/ 84 w 3172"/>
                <a:gd name="T35" fmla="*/ 768 h 3315"/>
                <a:gd name="T36" fmla="*/ 66 w 3172"/>
                <a:gd name="T37" fmla="*/ 984 h 3315"/>
                <a:gd name="T38" fmla="*/ 192 w 3172"/>
                <a:gd name="T39" fmla="*/ 906 h 3315"/>
                <a:gd name="T40" fmla="*/ 264 w 3172"/>
                <a:gd name="T41" fmla="*/ 840 h 3315"/>
                <a:gd name="T42" fmla="*/ 354 w 3172"/>
                <a:gd name="T43" fmla="*/ 786 h 3315"/>
                <a:gd name="T44" fmla="*/ 432 w 3172"/>
                <a:gd name="T45" fmla="*/ 852 h 3315"/>
                <a:gd name="T46" fmla="*/ 546 w 3172"/>
                <a:gd name="T47" fmla="*/ 990 h 3315"/>
                <a:gd name="T48" fmla="*/ 600 w 3172"/>
                <a:gd name="T49" fmla="*/ 1074 h 3315"/>
                <a:gd name="T50" fmla="*/ 690 w 3172"/>
                <a:gd name="T51" fmla="*/ 1014 h 3315"/>
                <a:gd name="T52" fmla="*/ 714 w 3172"/>
                <a:gd name="T53" fmla="*/ 1266 h 3315"/>
                <a:gd name="T54" fmla="*/ 816 w 3172"/>
                <a:gd name="T55" fmla="*/ 1428 h 3315"/>
                <a:gd name="T56" fmla="*/ 924 w 3172"/>
                <a:gd name="T57" fmla="*/ 1584 h 3315"/>
                <a:gd name="T58" fmla="*/ 966 w 3172"/>
                <a:gd name="T59" fmla="*/ 1848 h 3315"/>
                <a:gd name="T60" fmla="*/ 846 w 3172"/>
                <a:gd name="T61" fmla="*/ 2028 h 3315"/>
                <a:gd name="T62" fmla="*/ 654 w 3172"/>
                <a:gd name="T63" fmla="*/ 2100 h 3315"/>
                <a:gd name="T64" fmla="*/ 708 w 3172"/>
                <a:gd name="T65" fmla="*/ 2556 h 3315"/>
                <a:gd name="T66" fmla="*/ 712 w 3172"/>
                <a:gd name="T67" fmla="*/ 2878 h 3315"/>
                <a:gd name="T68" fmla="*/ 393 w 3172"/>
                <a:gd name="T69" fmla="*/ 2962 h 3315"/>
                <a:gd name="T70" fmla="*/ 396 w 3172"/>
                <a:gd name="T71" fmla="*/ 3049 h 3315"/>
                <a:gd name="T72" fmla="*/ 610 w 3172"/>
                <a:gd name="T73" fmla="*/ 3101 h 3315"/>
                <a:gd name="T74" fmla="*/ 753 w 3172"/>
                <a:gd name="T75" fmla="*/ 3199 h 3315"/>
                <a:gd name="T76" fmla="*/ 937 w 3172"/>
                <a:gd name="T77" fmla="*/ 3145 h 3315"/>
                <a:gd name="T78" fmla="*/ 998 w 3172"/>
                <a:gd name="T79" fmla="*/ 3033 h 3315"/>
                <a:gd name="T80" fmla="*/ 1196 w 3172"/>
                <a:gd name="T81" fmla="*/ 3110 h 3315"/>
                <a:gd name="T82" fmla="*/ 1453 w 3172"/>
                <a:gd name="T83" fmla="*/ 3156 h 3315"/>
                <a:gd name="T84" fmla="*/ 1580 w 3172"/>
                <a:gd name="T85" fmla="*/ 3147 h 3315"/>
                <a:gd name="T86" fmla="*/ 1702 w 3172"/>
                <a:gd name="T87" fmla="*/ 3007 h 3315"/>
                <a:gd name="T88" fmla="*/ 2102 w 3172"/>
                <a:gd name="T89" fmla="*/ 2972 h 3315"/>
                <a:gd name="T90" fmla="*/ 2129 w 3172"/>
                <a:gd name="T91" fmla="*/ 2901 h 3315"/>
                <a:gd name="T92" fmla="*/ 2509 w 3172"/>
                <a:gd name="T93" fmla="*/ 2899 h 3315"/>
                <a:gd name="T94" fmla="*/ 2672 w 3172"/>
                <a:gd name="T95" fmla="*/ 3080 h 3315"/>
                <a:gd name="T96" fmla="*/ 2589 w 3172"/>
                <a:gd name="T97" fmla="*/ 2857 h 3315"/>
                <a:gd name="T98" fmla="*/ 2530 w 3172"/>
                <a:gd name="T99" fmla="*/ 2545 h 3315"/>
                <a:gd name="T100" fmla="*/ 2653 w 3172"/>
                <a:gd name="T101" fmla="*/ 2296 h 3315"/>
                <a:gd name="T102" fmla="*/ 2900 w 3172"/>
                <a:gd name="T103" fmla="*/ 1993 h 3315"/>
                <a:gd name="T104" fmla="*/ 3161 w 3172"/>
                <a:gd name="T105" fmla="*/ 1836 h 3315"/>
                <a:gd name="T106" fmla="*/ 2877 w 3172"/>
                <a:gd name="T107" fmla="*/ 1512 h 3315"/>
                <a:gd name="T108" fmla="*/ 2485 w 3172"/>
                <a:gd name="T109" fmla="*/ 1218 h 3315"/>
                <a:gd name="T110" fmla="*/ 2274 w 3172"/>
                <a:gd name="T111" fmla="*/ 885 h 3315"/>
                <a:gd name="T112" fmla="*/ 2244 w 3172"/>
                <a:gd name="T113" fmla="*/ 734 h 3315"/>
                <a:gd name="T114" fmla="*/ 2231 w 3172"/>
                <a:gd name="T115" fmla="*/ 616 h 3315"/>
                <a:gd name="T116" fmla="*/ 1987 w 3172"/>
                <a:gd name="T117" fmla="*/ 250 h 3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172" h="3315">
                  <a:moveTo>
                    <a:pt x="2002" y="247"/>
                  </a:moveTo>
                  <a:cubicBezTo>
                    <a:pt x="1998" y="227"/>
                    <a:pt x="1998" y="227"/>
                    <a:pt x="1998" y="227"/>
                  </a:cubicBezTo>
                  <a:cubicBezTo>
                    <a:pt x="1944" y="198"/>
                    <a:pt x="1944" y="198"/>
                    <a:pt x="1944" y="198"/>
                  </a:cubicBezTo>
                  <a:cubicBezTo>
                    <a:pt x="1920" y="150"/>
                    <a:pt x="1920" y="150"/>
                    <a:pt x="1920" y="150"/>
                  </a:cubicBezTo>
                  <a:cubicBezTo>
                    <a:pt x="1872" y="120"/>
                    <a:pt x="1872" y="120"/>
                    <a:pt x="1872" y="120"/>
                  </a:cubicBezTo>
                  <a:cubicBezTo>
                    <a:pt x="1870" y="122"/>
                    <a:pt x="1870" y="122"/>
                    <a:pt x="1870" y="122"/>
                  </a:cubicBezTo>
                  <a:cubicBezTo>
                    <a:pt x="1824" y="150"/>
                    <a:pt x="1824" y="150"/>
                    <a:pt x="1824" y="150"/>
                  </a:cubicBezTo>
                  <a:cubicBezTo>
                    <a:pt x="1680" y="150"/>
                    <a:pt x="1680" y="150"/>
                    <a:pt x="1680" y="150"/>
                  </a:cubicBezTo>
                  <a:cubicBezTo>
                    <a:pt x="1620" y="168"/>
                    <a:pt x="1620" y="168"/>
                    <a:pt x="1620" y="168"/>
                  </a:cubicBezTo>
                  <a:cubicBezTo>
                    <a:pt x="1560" y="60"/>
                    <a:pt x="1560" y="60"/>
                    <a:pt x="1560" y="60"/>
                  </a:cubicBezTo>
                  <a:cubicBezTo>
                    <a:pt x="1560" y="60"/>
                    <a:pt x="1482" y="24"/>
                    <a:pt x="1464" y="84"/>
                  </a:cubicBezTo>
                  <a:cubicBezTo>
                    <a:pt x="1446" y="144"/>
                    <a:pt x="1470" y="240"/>
                    <a:pt x="1452" y="270"/>
                  </a:cubicBezTo>
                  <a:cubicBezTo>
                    <a:pt x="1434" y="300"/>
                    <a:pt x="1386" y="264"/>
                    <a:pt x="1386" y="264"/>
                  </a:cubicBezTo>
                  <a:cubicBezTo>
                    <a:pt x="1380" y="198"/>
                    <a:pt x="1380" y="198"/>
                    <a:pt x="1380" y="198"/>
                  </a:cubicBezTo>
                  <a:cubicBezTo>
                    <a:pt x="1380" y="198"/>
                    <a:pt x="1278" y="174"/>
                    <a:pt x="1230" y="174"/>
                  </a:cubicBezTo>
                  <a:cubicBezTo>
                    <a:pt x="1182" y="174"/>
                    <a:pt x="1122" y="192"/>
                    <a:pt x="1116" y="222"/>
                  </a:cubicBezTo>
                  <a:cubicBezTo>
                    <a:pt x="1110" y="252"/>
                    <a:pt x="1212" y="276"/>
                    <a:pt x="1206" y="294"/>
                  </a:cubicBezTo>
                  <a:cubicBezTo>
                    <a:pt x="1200" y="312"/>
                    <a:pt x="1056" y="324"/>
                    <a:pt x="1056" y="324"/>
                  </a:cubicBezTo>
                  <a:cubicBezTo>
                    <a:pt x="1026" y="226"/>
                    <a:pt x="1026" y="226"/>
                    <a:pt x="1026" y="226"/>
                  </a:cubicBezTo>
                  <a:cubicBezTo>
                    <a:pt x="918" y="162"/>
                    <a:pt x="918" y="162"/>
                    <a:pt x="918" y="162"/>
                  </a:cubicBezTo>
                  <a:cubicBezTo>
                    <a:pt x="864" y="78"/>
                    <a:pt x="864" y="78"/>
                    <a:pt x="864" y="78"/>
                  </a:cubicBezTo>
                  <a:cubicBezTo>
                    <a:pt x="864" y="78"/>
                    <a:pt x="786" y="0"/>
                    <a:pt x="744" y="0"/>
                  </a:cubicBezTo>
                  <a:cubicBezTo>
                    <a:pt x="702" y="0"/>
                    <a:pt x="672" y="102"/>
                    <a:pt x="630" y="132"/>
                  </a:cubicBezTo>
                  <a:cubicBezTo>
                    <a:pt x="588" y="162"/>
                    <a:pt x="510" y="126"/>
                    <a:pt x="510" y="126"/>
                  </a:cubicBezTo>
                  <a:cubicBezTo>
                    <a:pt x="480" y="246"/>
                    <a:pt x="480" y="246"/>
                    <a:pt x="480" y="246"/>
                  </a:cubicBezTo>
                  <a:cubicBezTo>
                    <a:pt x="408" y="336"/>
                    <a:pt x="408" y="336"/>
                    <a:pt x="408" y="336"/>
                  </a:cubicBezTo>
                  <a:cubicBezTo>
                    <a:pt x="336" y="318"/>
                    <a:pt x="336" y="318"/>
                    <a:pt x="336" y="318"/>
                  </a:cubicBezTo>
                  <a:cubicBezTo>
                    <a:pt x="354" y="444"/>
                    <a:pt x="354" y="444"/>
                    <a:pt x="354" y="444"/>
                  </a:cubicBezTo>
                  <a:cubicBezTo>
                    <a:pt x="294" y="462"/>
                    <a:pt x="294" y="462"/>
                    <a:pt x="294" y="462"/>
                  </a:cubicBezTo>
                  <a:cubicBezTo>
                    <a:pt x="240" y="408"/>
                    <a:pt x="240" y="408"/>
                    <a:pt x="240" y="408"/>
                  </a:cubicBezTo>
                  <a:cubicBezTo>
                    <a:pt x="150" y="396"/>
                    <a:pt x="150" y="396"/>
                    <a:pt x="150" y="396"/>
                  </a:cubicBezTo>
                  <a:cubicBezTo>
                    <a:pt x="108" y="456"/>
                    <a:pt x="108" y="456"/>
                    <a:pt x="108" y="456"/>
                  </a:cubicBezTo>
                  <a:cubicBezTo>
                    <a:pt x="84" y="426"/>
                    <a:pt x="84" y="426"/>
                    <a:pt x="84" y="426"/>
                  </a:cubicBezTo>
                  <a:cubicBezTo>
                    <a:pt x="0" y="480"/>
                    <a:pt x="0" y="480"/>
                    <a:pt x="0" y="480"/>
                  </a:cubicBezTo>
                  <a:cubicBezTo>
                    <a:pt x="42" y="708"/>
                    <a:pt x="42" y="708"/>
                    <a:pt x="42" y="708"/>
                  </a:cubicBezTo>
                  <a:cubicBezTo>
                    <a:pt x="42" y="708"/>
                    <a:pt x="72" y="702"/>
                    <a:pt x="84" y="768"/>
                  </a:cubicBezTo>
                  <a:cubicBezTo>
                    <a:pt x="96" y="834"/>
                    <a:pt x="36" y="894"/>
                    <a:pt x="42" y="936"/>
                  </a:cubicBezTo>
                  <a:cubicBezTo>
                    <a:pt x="48" y="978"/>
                    <a:pt x="66" y="984"/>
                    <a:pt x="66" y="984"/>
                  </a:cubicBezTo>
                  <a:cubicBezTo>
                    <a:pt x="156" y="966"/>
                    <a:pt x="156" y="966"/>
                    <a:pt x="156" y="966"/>
                  </a:cubicBezTo>
                  <a:cubicBezTo>
                    <a:pt x="192" y="906"/>
                    <a:pt x="192" y="906"/>
                    <a:pt x="192" y="906"/>
                  </a:cubicBezTo>
                  <a:cubicBezTo>
                    <a:pt x="270" y="912"/>
                    <a:pt x="270" y="912"/>
                    <a:pt x="270" y="912"/>
                  </a:cubicBezTo>
                  <a:cubicBezTo>
                    <a:pt x="264" y="840"/>
                    <a:pt x="264" y="840"/>
                    <a:pt x="264" y="840"/>
                  </a:cubicBezTo>
                  <a:cubicBezTo>
                    <a:pt x="264" y="840"/>
                    <a:pt x="204" y="816"/>
                    <a:pt x="252" y="768"/>
                  </a:cubicBezTo>
                  <a:cubicBezTo>
                    <a:pt x="300" y="720"/>
                    <a:pt x="354" y="786"/>
                    <a:pt x="354" y="786"/>
                  </a:cubicBezTo>
                  <a:cubicBezTo>
                    <a:pt x="426" y="774"/>
                    <a:pt x="426" y="774"/>
                    <a:pt x="426" y="774"/>
                  </a:cubicBezTo>
                  <a:cubicBezTo>
                    <a:pt x="432" y="852"/>
                    <a:pt x="432" y="852"/>
                    <a:pt x="432" y="852"/>
                  </a:cubicBezTo>
                  <a:cubicBezTo>
                    <a:pt x="516" y="846"/>
                    <a:pt x="516" y="846"/>
                    <a:pt x="516" y="846"/>
                  </a:cubicBezTo>
                  <a:cubicBezTo>
                    <a:pt x="546" y="990"/>
                    <a:pt x="546" y="990"/>
                    <a:pt x="546" y="990"/>
                  </a:cubicBezTo>
                  <a:cubicBezTo>
                    <a:pt x="588" y="990"/>
                    <a:pt x="588" y="990"/>
                    <a:pt x="588" y="990"/>
                  </a:cubicBezTo>
                  <a:cubicBezTo>
                    <a:pt x="600" y="1074"/>
                    <a:pt x="600" y="1074"/>
                    <a:pt x="600" y="1074"/>
                  </a:cubicBezTo>
                  <a:cubicBezTo>
                    <a:pt x="648" y="1068"/>
                    <a:pt x="648" y="1068"/>
                    <a:pt x="648" y="1068"/>
                  </a:cubicBezTo>
                  <a:cubicBezTo>
                    <a:pt x="690" y="1014"/>
                    <a:pt x="690" y="1014"/>
                    <a:pt x="690" y="1014"/>
                  </a:cubicBezTo>
                  <a:cubicBezTo>
                    <a:pt x="744" y="1140"/>
                    <a:pt x="744" y="1140"/>
                    <a:pt x="744" y="1140"/>
                  </a:cubicBezTo>
                  <a:cubicBezTo>
                    <a:pt x="714" y="1266"/>
                    <a:pt x="714" y="1266"/>
                    <a:pt x="714" y="1266"/>
                  </a:cubicBezTo>
                  <a:cubicBezTo>
                    <a:pt x="738" y="1356"/>
                    <a:pt x="738" y="1356"/>
                    <a:pt x="738" y="1356"/>
                  </a:cubicBezTo>
                  <a:cubicBezTo>
                    <a:pt x="816" y="1428"/>
                    <a:pt x="816" y="1428"/>
                    <a:pt x="816" y="1428"/>
                  </a:cubicBezTo>
                  <a:cubicBezTo>
                    <a:pt x="786" y="1488"/>
                    <a:pt x="786" y="1488"/>
                    <a:pt x="786" y="1488"/>
                  </a:cubicBezTo>
                  <a:cubicBezTo>
                    <a:pt x="924" y="1584"/>
                    <a:pt x="924" y="1584"/>
                    <a:pt x="924" y="1584"/>
                  </a:cubicBezTo>
                  <a:cubicBezTo>
                    <a:pt x="918" y="1782"/>
                    <a:pt x="918" y="1782"/>
                    <a:pt x="918" y="1782"/>
                  </a:cubicBezTo>
                  <a:cubicBezTo>
                    <a:pt x="966" y="1848"/>
                    <a:pt x="966" y="1848"/>
                    <a:pt x="966" y="1848"/>
                  </a:cubicBezTo>
                  <a:cubicBezTo>
                    <a:pt x="822" y="1878"/>
                    <a:pt x="822" y="1878"/>
                    <a:pt x="822" y="1878"/>
                  </a:cubicBezTo>
                  <a:cubicBezTo>
                    <a:pt x="846" y="2028"/>
                    <a:pt x="846" y="2028"/>
                    <a:pt x="846" y="2028"/>
                  </a:cubicBezTo>
                  <a:cubicBezTo>
                    <a:pt x="762" y="2100"/>
                    <a:pt x="762" y="2100"/>
                    <a:pt x="762" y="2100"/>
                  </a:cubicBezTo>
                  <a:cubicBezTo>
                    <a:pt x="762" y="2100"/>
                    <a:pt x="702" y="2040"/>
                    <a:pt x="654" y="2100"/>
                  </a:cubicBezTo>
                  <a:cubicBezTo>
                    <a:pt x="606" y="2160"/>
                    <a:pt x="678" y="2232"/>
                    <a:pt x="690" y="2310"/>
                  </a:cubicBezTo>
                  <a:cubicBezTo>
                    <a:pt x="702" y="2388"/>
                    <a:pt x="708" y="2556"/>
                    <a:pt x="708" y="2556"/>
                  </a:cubicBezTo>
                  <a:cubicBezTo>
                    <a:pt x="684" y="2694"/>
                    <a:pt x="684" y="2694"/>
                    <a:pt x="684" y="2694"/>
                  </a:cubicBezTo>
                  <a:cubicBezTo>
                    <a:pt x="712" y="2878"/>
                    <a:pt x="712" y="2878"/>
                    <a:pt x="712" y="2878"/>
                  </a:cubicBezTo>
                  <a:cubicBezTo>
                    <a:pt x="528" y="2892"/>
                    <a:pt x="528" y="2892"/>
                    <a:pt x="528" y="2892"/>
                  </a:cubicBezTo>
                  <a:cubicBezTo>
                    <a:pt x="393" y="2962"/>
                    <a:pt x="393" y="2962"/>
                    <a:pt x="393" y="2962"/>
                  </a:cubicBezTo>
                  <a:cubicBezTo>
                    <a:pt x="323" y="3036"/>
                    <a:pt x="323" y="3036"/>
                    <a:pt x="323" y="3036"/>
                  </a:cubicBezTo>
                  <a:cubicBezTo>
                    <a:pt x="343" y="3043"/>
                    <a:pt x="366" y="3048"/>
                    <a:pt x="396" y="3049"/>
                  </a:cubicBezTo>
                  <a:cubicBezTo>
                    <a:pt x="449" y="3052"/>
                    <a:pt x="430" y="2977"/>
                    <a:pt x="492" y="2998"/>
                  </a:cubicBezTo>
                  <a:cubicBezTo>
                    <a:pt x="501" y="3000"/>
                    <a:pt x="569" y="3064"/>
                    <a:pt x="610" y="3101"/>
                  </a:cubicBezTo>
                  <a:cubicBezTo>
                    <a:pt x="669" y="3155"/>
                    <a:pt x="650" y="3148"/>
                    <a:pt x="676" y="3234"/>
                  </a:cubicBezTo>
                  <a:cubicBezTo>
                    <a:pt x="690" y="3217"/>
                    <a:pt x="730" y="3191"/>
                    <a:pt x="753" y="3199"/>
                  </a:cubicBezTo>
                  <a:cubicBezTo>
                    <a:pt x="791" y="3211"/>
                    <a:pt x="731" y="3294"/>
                    <a:pt x="725" y="3315"/>
                  </a:cubicBezTo>
                  <a:cubicBezTo>
                    <a:pt x="794" y="3303"/>
                    <a:pt x="933" y="3225"/>
                    <a:pt x="937" y="3145"/>
                  </a:cubicBezTo>
                  <a:cubicBezTo>
                    <a:pt x="939" y="3090"/>
                    <a:pt x="872" y="3032"/>
                    <a:pt x="938" y="3000"/>
                  </a:cubicBezTo>
                  <a:cubicBezTo>
                    <a:pt x="923" y="3007"/>
                    <a:pt x="955" y="3100"/>
                    <a:pt x="998" y="3033"/>
                  </a:cubicBezTo>
                  <a:cubicBezTo>
                    <a:pt x="1017" y="3003"/>
                    <a:pt x="1213" y="3059"/>
                    <a:pt x="1196" y="3048"/>
                  </a:cubicBezTo>
                  <a:cubicBezTo>
                    <a:pt x="1233" y="3072"/>
                    <a:pt x="1213" y="3084"/>
                    <a:pt x="1196" y="3110"/>
                  </a:cubicBezTo>
                  <a:cubicBezTo>
                    <a:pt x="1242" y="3113"/>
                    <a:pt x="1269" y="3150"/>
                    <a:pt x="1260" y="3195"/>
                  </a:cubicBezTo>
                  <a:cubicBezTo>
                    <a:pt x="1331" y="3202"/>
                    <a:pt x="1390" y="3189"/>
                    <a:pt x="1453" y="3156"/>
                  </a:cubicBezTo>
                  <a:cubicBezTo>
                    <a:pt x="1430" y="3200"/>
                    <a:pt x="1430" y="3200"/>
                    <a:pt x="1430" y="3200"/>
                  </a:cubicBezTo>
                  <a:cubicBezTo>
                    <a:pt x="1488" y="3185"/>
                    <a:pt x="1512" y="3127"/>
                    <a:pt x="1580" y="3147"/>
                  </a:cubicBezTo>
                  <a:cubicBezTo>
                    <a:pt x="1571" y="3136"/>
                    <a:pt x="1562" y="3124"/>
                    <a:pt x="1552" y="3113"/>
                  </a:cubicBezTo>
                  <a:cubicBezTo>
                    <a:pt x="1579" y="3083"/>
                    <a:pt x="1673" y="3017"/>
                    <a:pt x="1702" y="3007"/>
                  </a:cubicBezTo>
                  <a:cubicBezTo>
                    <a:pt x="1764" y="2985"/>
                    <a:pt x="1829" y="2994"/>
                    <a:pt x="1890" y="2979"/>
                  </a:cubicBezTo>
                  <a:cubicBezTo>
                    <a:pt x="1923" y="2970"/>
                    <a:pt x="2084" y="2992"/>
                    <a:pt x="2102" y="2972"/>
                  </a:cubicBezTo>
                  <a:cubicBezTo>
                    <a:pt x="2146" y="2925"/>
                    <a:pt x="2038" y="2884"/>
                    <a:pt x="2127" y="2834"/>
                  </a:cubicBezTo>
                  <a:cubicBezTo>
                    <a:pt x="2123" y="2855"/>
                    <a:pt x="2133" y="2880"/>
                    <a:pt x="2129" y="2901"/>
                  </a:cubicBezTo>
                  <a:cubicBezTo>
                    <a:pt x="2214" y="2875"/>
                    <a:pt x="2264" y="2916"/>
                    <a:pt x="2316" y="2954"/>
                  </a:cubicBezTo>
                  <a:cubicBezTo>
                    <a:pt x="2382" y="3003"/>
                    <a:pt x="2402" y="2841"/>
                    <a:pt x="2509" y="2899"/>
                  </a:cubicBezTo>
                  <a:cubicBezTo>
                    <a:pt x="2508" y="2910"/>
                    <a:pt x="2490" y="3001"/>
                    <a:pt x="2504" y="3021"/>
                  </a:cubicBezTo>
                  <a:cubicBezTo>
                    <a:pt x="2524" y="3047"/>
                    <a:pt x="2651" y="3104"/>
                    <a:pt x="2672" y="3080"/>
                  </a:cubicBezTo>
                  <a:cubicBezTo>
                    <a:pt x="2688" y="3062"/>
                    <a:pt x="2710" y="2930"/>
                    <a:pt x="2704" y="2915"/>
                  </a:cubicBezTo>
                  <a:cubicBezTo>
                    <a:pt x="2682" y="2859"/>
                    <a:pt x="2664" y="2836"/>
                    <a:pt x="2589" y="2857"/>
                  </a:cubicBezTo>
                  <a:cubicBezTo>
                    <a:pt x="2605" y="2765"/>
                    <a:pt x="2676" y="2739"/>
                    <a:pt x="2614" y="2651"/>
                  </a:cubicBezTo>
                  <a:cubicBezTo>
                    <a:pt x="2579" y="2602"/>
                    <a:pt x="2554" y="2603"/>
                    <a:pt x="2530" y="2545"/>
                  </a:cubicBezTo>
                  <a:cubicBezTo>
                    <a:pt x="2519" y="2520"/>
                    <a:pt x="2412" y="2465"/>
                    <a:pt x="2481" y="2443"/>
                  </a:cubicBezTo>
                  <a:cubicBezTo>
                    <a:pt x="2547" y="2422"/>
                    <a:pt x="2622" y="2308"/>
                    <a:pt x="2653" y="2296"/>
                  </a:cubicBezTo>
                  <a:cubicBezTo>
                    <a:pt x="2702" y="2278"/>
                    <a:pt x="2743" y="2264"/>
                    <a:pt x="2794" y="2262"/>
                  </a:cubicBezTo>
                  <a:cubicBezTo>
                    <a:pt x="2896" y="2259"/>
                    <a:pt x="2939" y="2068"/>
                    <a:pt x="2900" y="1993"/>
                  </a:cubicBezTo>
                  <a:cubicBezTo>
                    <a:pt x="2969" y="1964"/>
                    <a:pt x="3027" y="1974"/>
                    <a:pt x="3107" y="2027"/>
                  </a:cubicBezTo>
                  <a:cubicBezTo>
                    <a:pt x="3137" y="1980"/>
                    <a:pt x="3172" y="1905"/>
                    <a:pt x="3161" y="1836"/>
                  </a:cubicBezTo>
                  <a:cubicBezTo>
                    <a:pt x="3145" y="1738"/>
                    <a:pt x="3066" y="1674"/>
                    <a:pt x="3032" y="1615"/>
                  </a:cubicBezTo>
                  <a:cubicBezTo>
                    <a:pt x="2985" y="1531"/>
                    <a:pt x="2889" y="1636"/>
                    <a:pt x="2877" y="1512"/>
                  </a:cubicBezTo>
                  <a:cubicBezTo>
                    <a:pt x="2870" y="1450"/>
                    <a:pt x="2791" y="1435"/>
                    <a:pt x="2746" y="1429"/>
                  </a:cubicBezTo>
                  <a:cubicBezTo>
                    <a:pt x="2728" y="1428"/>
                    <a:pt x="2577" y="1240"/>
                    <a:pt x="2485" y="1218"/>
                  </a:cubicBezTo>
                  <a:cubicBezTo>
                    <a:pt x="2416" y="1202"/>
                    <a:pt x="2342" y="1070"/>
                    <a:pt x="2323" y="1023"/>
                  </a:cubicBezTo>
                  <a:cubicBezTo>
                    <a:pt x="2305" y="980"/>
                    <a:pt x="2299" y="923"/>
                    <a:pt x="2274" y="885"/>
                  </a:cubicBezTo>
                  <a:cubicBezTo>
                    <a:pt x="2256" y="855"/>
                    <a:pt x="2192" y="855"/>
                    <a:pt x="2189" y="802"/>
                  </a:cubicBezTo>
                  <a:cubicBezTo>
                    <a:pt x="2189" y="804"/>
                    <a:pt x="2244" y="734"/>
                    <a:pt x="2244" y="734"/>
                  </a:cubicBezTo>
                  <a:cubicBezTo>
                    <a:pt x="2264" y="725"/>
                    <a:pt x="2273" y="668"/>
                    <a:pt x="2281" y="641"/>
                  </a:cubicBezTo>
                  <a:cubicBezTo>
                    <a:pt x="2264" y="632"/>
                    <a:pt x="2247" y="624"/>
                    <a:pt x="2231" y="616"/>
                  </a:cubicBezTo>
                  <a:cubicBezTo>
                    <a:pt x="2260" y="558"/>
                    <a:pt x="2114" y="518"/>
                    <a:pt x="2081" y="475"/>
                  </a:cubicBezTo>
                  <a:cubicBezTo>
                    <a:pt x="2040" y="421"/>
                    <a:pt x="1983" y="330"/>
                    <a:pt x="1987" y="250"/>
                  </a:cubicBezTo>
                  <a:lnTo>
                    <a:pt x="2002" y="247"/>
                  </a:lnTo>
                  <a:close/>
                </a:path>
              </a:pathLst>
            </a:custGeom>
            <a:solidFill>
              <a:schemeClr val="accent6"/>
            </a:solidFill>
            <a:ln w="6350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 dirty="0">
                <a:solidFill>
                  <a:schemeClr val="bg1"/>
                </a:solidFill>
              </a:endParaRPr>
            </a:p>
          </p:txBody>
        </p:sp>
        <p:sp>
          <p:nvSpPr>
            <p:cNvPr id="24" name="Saarland"/>
            <p:cNvSpPr>
              <a:spLocks/>
            </p:cNvSpPr>
            <p:nvPr/>
          </p:nvSpPr>
          <p:spPr bwMode="gray">
            <a:xfrm>
              <a:off x="3662327" y="4354161"/>
              <a:ext cx="531962" cy="461318"/>
            </a:xfrm>
            <a:custGeom>
              <a:avLst/>
              <a:gdLst>
                <a:gd name="T0" fmla="*/ 658 w 693"/>
                <a:gd name="T1" fmla="*/ 512 h 601"/>
                <a:gd name="T2" fmla="*/ 629 w 693"/>
                <a:gd name="T3" fmla="*/ 460 h 601"/>
                <a:gd name="T4" fmla="*/ 629 w 693"/>
                <a:gd name="T5" fmla="*/ 411 h 601"/>
                <a:gd name="T6" fmla="*/ 693 w 693"/>
                <a:gd name="T7" fmla="*/ 311 h 601"/>
                <a:gd name="T8" fmla="*/ 596 w 693"/>
                <a:gd name="T9" fmla="*/ 217 h 601"/>
                <a:gd name="T10" fmla="*/ 639 w 693"/>
                <a:gd name="T11" fmla="*/ 179 h 601"/>
                <a:gd name="T12" fmla="*/ 620 w 693"/>
                <a:gd name="T13" fmla="*/ 73 h 601"/>
                <a:gd name="T14" fmla="*/ 542 w 693"/>
                <a:gd name="T15" fmla="*/ 49 h 601"/>
                <a:gd name="T16" fmla="*/ 491 w 693"/>
                <a:gd name="T17" fmla="*/ 14 h 601"/>
                <a:gd name="T18" fmla="*/ 426 w 693"/>
                <a:gd name="T19" fmla="*/ 0 h 601"/>
                <a:gd name="T20" fmla="*/ 264 w 693"/>
                <a:gd name="T21" fmla="*/ 92 h 601"/>
                <a:gd name="T22" fmla="*/ 231 w 693"/>
                <a:gd name="T23" fmla="*/ 84 h 601"/>
                <a:gd name="T24" fmla="*/ 172 w 693"/>
                <a:gd name="T25" fmla="*/ 100 h 601"/>
                <a:gd name="T26" fmla="*/ 18 w 693"/>
                <a:gd name="T27" fmla="*/ 70 h 601"/>
                <a:gd name="T28" fmla="*/ 17 w 693"/>
                <a:gd name="T29" fmla="*/ 124 h 601"/>
                <a:gd name="T30" fmla="*/ 125 w 693"/>
                <a:gd name="T31" fmla="*/ 218 h 601"/>
                <a:gd name="T32" fmla="*/ 121 w 693"/>
                <a:gd name="T33" fmla="*/ 301 h 601"/>
                <a:gd name="T34" fmla="*/ 227 w 693"/>
                <a:gd name="T35" fmla="*/ 436 h 601"/>
                <a:gd name="T36" fmla="*/ 263 w 693"/>
                <a:gd name="T37" fmla="*/ 496 h 601"/>
                <a:gd name="T38" fmla="*/ 314 w 693"/>
                <a:gd name="T39" fmla="*/ 450 h 601"/>
                <a:gd name="T40" fmla="*/ 427 w 693"/>
                <a:gd name="T41" fmla="*/ 495 h 601"/>
                <a:gd name="T42" fmla="*/ 480 w 693"/>
                <a:gd name="T43" fmla="*/ 517 h 601"/>
                <a:gd name="T44" fmla="*/ 594 w 693"/>
                <a:gd name="T45" fmla="*/ 561 h 601"/>
                <a:gd name="T46" fmla="*/ 661 w 693"/>
                <a:gd name="T47" fmla="*/ 533 h 601"/>
                <a:gd name="T48" fmla="*/ 658 w 693"/>
                <a:gd name="T49" fmla="*/ 512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93" h="601">
                  <a:moveTo>
                    <a:pt x="658" y="512"/>
                  </a:moveTo>
                  <a:cubicBezTo>
                    <a:pt x="629" y="460"/>
                    <a:pt x="629" y="460"/>
                    <a:pt x="629" y="460"/>
                  </a:cubicBezTo>
                  <a:cubicBezTo>
                    <a:pt x="629" y="411"/>
                    <a:pt x="629" y="411"/>
                    <a:pt x="629" y="411"/>
                  </a:cubicBezTo>
                  <a:cubicBezTo>
                    <a:pt x="629" y="411"/>
                    <a:pt x="693" y="355"/>
                    <a:pt x="693" y="311"/>
                  </a:cubicBezTo>
                  <a:cubicBezTo>
                    <a:pt x="693" y="268"/>
                    <a:pt x="596" y="217"/>
                    <a:pt x="596" y="217"/>
                  </a:cubicBezTo>
                  <a:cubicBezTo>
                    <a:pt x="639" y="179"/>
                    <a:pt x="639" y="179"/>
                    <a:pt x="639" y="179"/>
                  </a:cubicBezTo>
                  <a:cubicBezTo>
                    <a:pt x="620" y="73"/>
                    <a:pt x="620" y="73"/>
                    <a:pt x="620" y="73"/>
                  </a:cubicBezTo>
                  <a:cubicBezTo>
                    <a:pt x="542" y="49"/>
                    <a:pt x="542" y="49"/>
                    <a:pt x="542" y="49"/>
                  </a:cubicBezTo>
                  <a:cubicBezTo>
                    <a:pt x="491" y="14"/>
                    <a:pt x="491" y="14"/>
                    <a:pt x="491" y="14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264" y="92"/>
                    <a:pt x="264" y="92"/>
                    <a:pt x="264" y="92"/>
                  </a:cubicBezTo>
                  <a:cubicBezTo>
                    <a:pt x="231" y="84"/>
                    <a:pt x="231" y="84"/>
                    <a:pt x="231" y="84"/>
                  </a:cubicBezTo>
                  <a:cubicBezTo>
                    <a:pt x="231" y="84"/>
                    <a:pt x="193" y="109"/>
                    <a:pt x="172" y="100"/>
                  </a:cubicBezTo>
                  <a:cubicBezTo>
                    <a:pt x="161" y="96"/>
                    <a:pt x="69" y="81"/>
                    <a:pt x="18" y="70"/>
                  </a:cubicBezTo>
                  <a:cubicBezTo>
                    <a:pt x="17" y="86"/>
                    <a:pt x="21" y="104"/>
                    <a:pt x="17" y="124"/>
                  </a:cubicBezTo>
                  <a:cubicBezTo>
                    <a:pt x="0" y="211"/>
                    <a:pt x="71" y="153"/>
                    <a:pt x="125" y="218"/>
                  </a:cubicBezTo>
                  <a:cubicBezTo>
                    <a:pt x="147" y="244"/>
                    <a:pt x="145" y="284"/>
                    <a:pt x="121" y="301"/>
                  </a:cubicBezTo>
                  <a:cubicBezTo>
                    <a:pt x="137" y="290"/>
                    <a:pt x="231" y="442"/>
                    <a:pt x="227" y="436"/>
                  </a:cubicBezTo>
                  <a:cubicBezTo>
                    <a:pt x="250" y="465"/>
                    <a:pt x="208" y="487"/>
                    <a:pt x="263" y="496"/>
                  </a:cubicBezTo>
                  <a:cubicBezTo>
                    <a:pt x="311" y="504"/>
                    <a:pt x="326" y="502"/>
                    <a:pt x="314" y="450"/>
                  </a:cubicBezTo>
                  <a:cubicBezTo>
                    <a:pt x="344" y="452"/>
                    <a:pt x="426" y="459"/>
                    <a:pt x="427" y="495"/>
                  </a:cubicBezTo>
                  <a:cubicBezTo>
                    <a:pt x="431" y="601"/>
                    <a:pt x="455" y="517"/>
                    <a:pt x="480" y="517"/>
                  </a:cubicBezTo>
                  <a:cubicBezTo>
                    <a:pt x="493" y="517"/>
                    <a:pt x="562" y="558"/>
                    <a:pt x="594" y="561"/>
                  </a:cubicBezTo>
                  <a:cubicBezTo>
                    <a:pt x="623" y="563"/>
                    <a:pt x="624" y="538"/>
                    <a:pt x="661" y="533"/>
                  </a:cubicBezTo>
                  <a:cubicBezTo>
                    <a:pt x="667" y="532"/>
                    <a:pt x="651" y="519"/>
                    <a:pt x="658" y="512"/>
                  </a:cubicBezTo>
                  <a:close/>
                </a:path>
              </a:pathLst>
            </a:custGeom>
            <a:solidFill>
              <a:schemeClr val="accent6"/>
            </a:solidFill>
            <a:ln w="6350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 dirty="0">
                <a:solidFill>
                  <a:schemeClr val="bg1"/>
                </a:solidFill>
              </a:endParaRPr>
            </a:p>
          </p:txBody>
        </p:sp>
        <p:sp>
          <p:nvSpPr>
            <p:cNvPr id="25" name="Hessen"/>
            <p:cNvSpPr>
              <a:spLocks/>
            </p:cNvSpPr>
            <p:nvPr/>
          </p:nvSpPr>
          <p:spPr bwMode="gray">
            <a:xfrm>
              <a:off x="4416783" y="2854877"/>
              <a:ext cx="1207535" cy="1740060"/>
            </a:xfrm>
            <a:custGeom>
              <a:avLst/>
              <a:gdLst>
                <a:gd name="T0" fmla="*/ 471 w 1575"/>
                <a:gd name="T1" fmla="*/ 2117 h 2271"/>
                <a:gd name="T2" fmla="*/ 497 w 1575"/>
                <a:gd name="T3" fmla="*/ 2039 h 2271"/>
                <a:gd name="T4" fmla="*/ 583 w 1575"/>
                <a:gd name="T5" fmla="*/ 2127 h 2271"/>
                <a:gd name="T6" fmla="*/ 628 w 1575"/>
                <a:gd name="T7" fmla="*/ 2237 h 2271"/>
                <a:gd name="T8" fmla="*/ 697 w 1575"/>
                <a:gd name="T9" fmla="*/ 2210 h 2271"/>
                <a:gd name="T10" fmla="*/ 753 w 1575"/>
                <a:gd name="T11" fmla="*/ 2143 h 2271"/>
                <a:gd name="T12" fmla="*/ 812 w 1575"/>
                <a:gd name="T13" fmla="*/ 2101 h 2271"/>
                <a:gd name="T14" fmla="*/ 828 w 1575"/>
                <a:gd name="T15" fmla="*/ 2084 h 2271"/>
                <a:gd name="T16" fmla="*/ 852 w 1575"/>
                <a:gd name="T17" fmla="*/ 1872 h 2271"/>
                <a:gd name="T18" fmla="*/ 768 w 1575"/>
                <a:gd name="T19" fmla="*/ 1584 h 2271"/>
                <a:gd name="T20" fmla="*/ 876 w 1575"/>
                <a:gd name="T21" fmla="*/ 1560 h 2271"/>
                <a:gd name="T22" fmla="*/ 1008 w 1575"/>
                <a:gd name="T23" fmla="*/ 1512 h 2271"/>
                <a:gd name="T24" fmla="*/ 1122 w 1575"/>
                <a:gd name="T25" fmla="*/ 1548 h 2271"/>
                <a:gd name="T26" fmla="*/ 1176 w 1575"/>
                <a:gd name="T27" fmla="*/ 1440 h 2271"/>
                <a:gd name="T28" fmla="*/ 1278 w 1575"/>
                <a:gd name="T29" fmla="*/ 1230 h 2271"/>
                <a:gd name="T30" fmla="*/ 1459 w 1575"/>
                <a:gd name="T31" fmla="*/ 1153 h 2271"/>
                <a:gd name="T32" fmla="*/ 1455 w 1575"/>
                <a:gd name="T33" fmla="*/ 1036 h 2271"/>
                <a:gd name="T34" fmla="*/ 1466 w 1575"/>
                <a:gd name="T35" fmla="*/ 987 h 2271"/>
                <a:gd name="T36" fmla="*/ 1403 w 1575"/>
                <a:gd name="T37" fmla="*/ 1025 h 2271"/>
                <a:gd name="T38" fmla="*/ 1403 w 1575"/>
                <a:gd name="T39" fmla="*/ 836 h 2271"/>
                <a:gd name="T40" fmla="*/ 1455 w 1575"/>
                <a:gd name="T41" fmla="*/ 778 h 2271"/>
                <a:gd name="T42" fmla="*/ 1455 w 1575"/>
                <a:gd name="T43" fmla="*/ 655 h 2271"/>
                <a:gd name="T44" fmla="*/ 1515 w 1575"/>
                <a:gd name="T45" fmla="*/ 597 h 2271"/>
                <a:gd name="T46" fmla="*/ 1567 w 1575"/>
                <a:gd name="T47" fmla="*/ 480 h 2271"/>
                <a:gd name="T48" fmla="*/ 1381 w 1575"/>
                <a:gd name="T49" fmla="*/ 244 h 2271"/>
                <a:gd name="T50" fmla="*/ 1260 w 1575"/>
                <a:gd name="T51" fmla="*/ 304 h 2271"/>
                <a:gd name="T52" fmla="*/ 1153 w 1575"/>
                <a:gd name="T53" fmla="*/ 312 h 2271"/>
                <a:gd name="T54" fmla="*/ 1219 w 1575"/>
                <a:gd name="T55" fmla="*/ 203 h 2271"/>
                <a:gd name="T56" fmla="*/ 1238 w 1575"/>
                <a:gd name="T57" fmla="*/ 79 h 2271"/>
                <a:gd name="T58" fmla="*/ 1115 w 1575"/>
                <a:gd name="T59" fmla="*/ 0 h 2271"/>
                <a:gd name="T60" fmla="*/ 1011 w 1575"/>
                <a:gd name="T61" fmla="*/ 126 h 2271"/>
                <a:gd name="T62" fmla="*/ 830 w 1575"/>
                <a:gd name="T63" fmla="*/ 143 h 2271"/>
                <a:gd name="T64" fmla="*/ 767 w 1575"/>
                <a:gd name="T65" fmla="*/ 266 h 2271"/>
                <a:gd name="T66" fmla="*/ 537 w 1575"/>
                <a:gd name="T67" fmla="*/ 362 h 2271"/>
                <a:gd name="T68" fmla="*/ 622 w 1575"/>
                <a:gd name="T69" fmla="*/ 381 h 2271"/>
                <a:gd name="T70" fmla="*/ 619 w 1575"/>
                <a:gd name="T71" fmla="*/ 545 h 2271"/>
                <a:gd name="T72" fmla="*/ 507 w 1575"/>
                <a:gd name="T73" fmla="*/ 619 h 2271"/>
                <a:gd name="T74" fmla="*/ 334 w 1575"/>
                <a:gd name="T75" fmla="*/ 759 h 2271"/>
                <a:gd name="T76" fmla="*/ 265 w 1575"/>
                <a:gd name="T77" fmla="*/ 904 h 2271"/>
                <a:gd name="T78" fmla="*/ 235 w 1575"/>
                <a:gd name="T79" fmla="*/ 949 h 2271"/>
                <a:gd name="T80" fmla="*/ 163 w 1575"/>
                <a:gd name="T81" fmla="*/ 1079 h 2271"/>
                <a:gd name="T82" fmla="*/ 217 w 1575"/>
                <a:gd name="T83" fmla="*/ 1355 h 2271"/>
                <a:gd name="T84" fmla="*/ 68 w 1575"/>
                <a:gd name="T85" fmla="*/ 1468 h 2271"/>
                <a:gd name="T86" fmla="*/ 95 w 1575"/>
                <a:gd name="T87" fmla="*/ 1517 h 2271"/>
                <a:gd name="T88" fmla="*/ 0 w 1575"/>
                <a:gd name="T89" fmla="*/ 1566 h 2271"/>
                <a:gd name="T90" fmla="*/ 273 w 1575"/>
                <a:gd name="T91" fmla="*/ 1587 h 2271"/>
                <a:gd name="T92" fmla="*/ 352 w 1575"/>
                <a:gd name="T93" fmla="*/ 1771 h 2271"/>
                <a:gd name="T94" fmla="*/ 352 w 1575"/>
                <a:gd name="T95" fmla="*/ 1947 h 2271"/>
                <a:gd name="T96" fmla="*/ 423 w 1575"/>
                <a:gd name="T97" fmla="*/ 2063 h 2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75" h="2271">
                  <a:moveTo>
                    <a:pt x="423" y="2063"/>
                  </a:moveTo>
                  <a:cubicBezTo>
                    <a:pt x="471" y="2117"/>
                    <a:pt x="471" y="2117"/>
                    <a:pt x="471" y="2117"/>
                  </a:cubicBezTo>
                  <a:cubicBezTo>
                    <a:pt x="511" y="2138"/>
                    <a:pt x="511" y="2138"/>
                    <a:pt x="511" y="2138"/>
                  </a:cubicBezTo>
                  <a:cubicBezTo>
                    <a:pt x="497" y="2039"/>
                    <a:pt x="497" y="2039"/>
                    <a:pt x="497" y="2039"/>
                  </a:cubicBezTo>
                  <a:cubicBezTo>
                    <a:pt x="553" y="2029"/>
                    <a:pt x="553" y="2029"/>
                    <a:pt x="553" y="2029"/>
                  </a:cubicBezTo>
                  <a:cubicBezTo>
                    <a:pt x="583" y="2127"/>
                    <a:pt x="583" y="2127"/>
                    <a:pt x="583" y="2127"/>
                  </a:cubicBezTo>
                  <a:cubicBezTo>
                    <a:pt x="681" y="2138"/>
                    <a:pt x="681" y="2138"/>
                    <a:pt x="681" y="2138"/>
                  </a:cubicBezTo>
                  <a:cubicBezTo>
                    <a:pt x="628" y="2237"/>
                    <a:pt x="628" y="2237"/>
                    <a:pt x="628" y="2237"/>
                  </a:cubicBezTo>
                  <a:cubicBezTo>
                    <a:pt x="660" y="2271"/>
                    <a:pt x="660" y="2271"/>
                    <a:pt x="660" y="2271"/>
                  </a:cubicBezTo>
                  <a:cubicBezTo>
                    <a:pt x="697" y="2210"/>
                    <a:pt x="697" y="2210"/>
                    <a:pt x="697" y="2210"/>
                  </a:cubicBezTo>
                  <a:cubicBezTo>
                    <a:pt x="724" y="2202"/>
                    <a:pt x="724" y="2202"/>
                    <a:pt x="724" y="2202"/>
                  </a:cubicBezTo>
                  <a:cubicBezTo>
                    <a:pt x="724" y="2202"/>
                    <a:pt x="724" y="2138"/>
                    <a:pt x="753" y="2143"/>
                  </a:cubicBezTo>
                  <a:cubicBezTo>
                    <a:pt x="783" y="2149"/>
                    <a:pt x="788" y="2159"/>
                    <a:pt x="836" y="2146"/>
                  </a:cubicBezTo>
                  <a:cubicBezTo>
                    <a:pt x="884" y="2133"/>
                    <a:pt x="812" y="2101"/>
                    <a:pt x="812" y="2101"/>
                  </a:cubicBezTo>
                  <a:cubicBezTo>
                    <a:pt x="828" y="2084"/>
                    <a:pt x="828" y="2084"/>
                    <a:pt x="828" y="2084"/>
                  </a:cubicBezTo>
                  <a:cubicBezTo>
                    <a:pt x="828" y="2084"/>
                    <a:pt x="828" y="2084"/>
                    <a:pt x="828" y="2084"/>
                  </a:cubicBezTo>
                  <a:cubicBezTo>
                    <a:pt x="822" y="2078"/>
                    <a:pt x="814" y="2066"/>
                    <a:pt x="810" y="2040"/>
                  </a:cubicBezTo>
                  <a:cubicBezTo>
                    <a:pt x="804" y="1998"/>
                    <a:pt x="864" y="1938"/>
                    <a:pt x="852" y="1872"/>
                  </a:cubicBezTo>
                  <a:cubicBezTo>
                    <a:pt x="840" y="1806"/>
                    <a:pt x="810" y="1812"/>
                    <a:pt x="810" y="1812"/>
                  </a:cubicBezTo>
                  <a:cubicBezTo>
                    <a:pt x="768" y="1584"/>
                    <a:pt x="768" y="1584"/>
                    <a:pt x="768" y="1584"/>
                  </a:cubicBezTo>
                  <a:cubicBezTo>
                    <a:pt x="852" y="1530"/>
                    <a:pt x="852" y="1530"/>
                    <a:pt x="852" y="1530"/>
                  </a:cubicBezTo>
                  <a:cubicBezTo>
                    <a:pt x="876" y="1560"/>
                    <a:pt x="876" y="1560"/>
                    <a:pt x="876" y="1560"/>
                  </a:cubicBezTo>
                  <a:cubicBezTo>
                    <a:pt x="918" y="1500"/>
                    <a:pt x="918" y="1500"/>
                    <a:pt x="918" y="1500"/>
                  </a:cubicBezTo>
                  <a:cubicBezTo>
                    <a:pt x="1008" y="1512"/>
                    <a:pt x="1008" y="1512"/>
                    <a:pt x="1008" y="1512"/>
                  </a:cubicBezTo>
                  <a:cubicBezTo>
                    <a:pt x="1062" y="1566"/>
                    <a:pt x="1062" y="1566"/>
                    <a:pt x="1062" y="1566"/>
                  </a:cubicBezTo>
                  <a:cubicBezTo>
                    <a:pt x="1122" y="1548"/>
                    <a:pt x="1122" y="1548"/>
                    <a:pt x="1122" y="1548"/>
                  </a:cubicBezTo>
                  <a:cubicBezTo>
                    <a:pt x="1104" y="1422"/>
                    <a:pt x="1104" y="1422"/>
                    <a:pt x="1104" y="1422"/>
                  </a:cubicBezTo>
                  <a:cubicBezTo>
                    <a:pt x="1176" y="1440"/>
                    <a:pt x="1176" y="1440"/>
                    <a:pt x="1176" y="1440"/>
                  </a:cubicBezTo>
                  <a:cubicBezTo>
                    <a:pt x="1248" y="1350"/>
                    <a:pt x="1248" y="1350"/>
                    <a:pt x="1248" y="1350"/>
                  </a:cubicBezTo>
                  <a:cubicBezTo>
                    <a:pt x="1278" y="1230"/>
                    <a:pt x="1278" y="1230"/>
                    <a:pt x="1278" y="1230"/>
                  </a:cubicBezTo>
                  <a:cubicBezTo>
                    <a:pt x="1278" y="1230"/>
                    <a:pt x="1356" y="1266"/>
                    <a:pt x="1398" y="1236"/>
                  </a:cubicBezTo>
                  <a:cubicBezTo>
                    <a:pt x="1421" y="1220"/>
                    <a:pt x="1440" y="1184"/>
                    <a:pt x="1459" y="1153"/>
                  </a:cubicBezTo>
                  <a:cubicBezTo>
                    <a:pt x="1460" y="1120"/>
                    <a:pt x="1462" y="1086"/>
                    <a:pt x="1460" y="1077"/>
                  </a:cubicBezTo>
                  <a:cubicBezTo>
                    <a:pt x="1458" y="1058"/>
                    <a:pt x="1455" y="1036"/>
                    <a:pt x="1455" y="1036"/>
                  </a:cubicBezTo>
                  <a:cubicBezTo>
                    <a:pt x="1490" y="1030"/>
                    <a:pt x="1490" y="1030"/>
                    <a:pt x="1490" y="1030"/>
                  </a:cubicBezTo>
                  <a:cubicBezTo>
                    <a:pt x="1466" y="987"/>
                    <a:pt x="1466" y="987"/>
                    <a:pt x="1466" y="987"/>
                  </a:cubicBezTo>
                  <a:cubicBezTo>
                    <a:pt x="1414" y="995"/>
                    <a:pt x="1414" y="995"/>
                    <a:pt x="1414" y="995"/>
                  </a:cubicBezTo>
                  <a:cubicBezTo>
                    <a:pt x="1403" y="1025"/>
                    <a:pt x="1403" y="1025"/>
                    <a:pt x="1403" y="1025"/>
                  </a:cubicBezTo>
                  <a:cubicBezTo>
                    <a:pt x="1342" y="1019"/>
                    <a:pt x="1342" y="1019"/>
                    <a:pt x="1342" y="1019"/>
                  </a:cubicBezTo>
                  <a:cubicBezTo>
                    <a:pt x="1403" y="836"/>
                    <a:pt x="1403" y="836"/>
                    <a:pt x="1403" y="836"/>
                  </a:cubicBezTo>
                  <a:cubicBezTo>
                    <a:pt x="1458" y="825"/>
                    <a:pt x="1458" y="825"/>
                    <a:pt x="1458" y="825"/>
                  </a:cubicBezTo>
                  <a:cubicBezTo>
                    <a:pt x="1455" y="778"/>
                    <a:pt x="1455" y="778"/>
                    <a:pt x="1455" y="778"/>
                  </a:cubicBezTo>
                  <a:cubicBezTo>
                    <a:pt x="1414" y="748"/>
                    <a:pt x="1414" y="748"/>
                    <a:pt x="1414" y="748"/>
                  </a:cubicBezTo>
                  <a:cubicBezTo>
                    <a:pt x="1414" y="748"/>
                    <a:pt x="1436" y="674"/>
                    <a:pt x="1455" y="655"/>
                  </a:cubicBezTo>
                  <a:cubicBezTo>
                    <a:pt x="1474" y="636"/>
                    <a:pt x="1570" y="674"/>
                    <a:pt x="1573" y="652"/>
                  </a:cubicBezTo>
                  <a:cubicBezTo>
                    <a:pt x="1575" y="630"/>
                    <a:pt x="1515" y="597"/>
                    <a:pt x="1515" y="597"/>
                  </a:cubicBezTo>
                  <a:cubicBezTo>
                    <a:pt x="1570" y="537"/>
                    <a:pt x="1570" y="537"/>
                    <a:pt x="1570" y="537"/>
                  </a:cubicBezTo>
                  <a:cubicBezTo>
                    <a:pt x="1567" y="480"/>
                    <a:pt x="1567" y="480"/>
                    <a:pt x="1567" y="480"/>
                  </a:cubicBezTo>
                  <a:cubicBezTo>
                    <a:pt x="1419" y="367"/>
                    <a:pt x="1419" y="367"/>
                    <a:pt x="1419" y="367"/>
                  </a:cubicBezTo>
                  <a:cubicBezTo>
                    <a:pt x="1381" y="244"/>
                    <a:pt x="1381" y="244"/>
                    <a:pt x="1381" y="244"/>
                  </a:cubicBezTo>
                  <a:cubicBezTo>
                    <a:pt x="1315" y="247"/>
                    <a:pt x="1315" y="247"/>
                    <a:pt x="1315" y="247"/>
                  </a:cubicBezTo>
                  <a:cubicBezTo>
                    <a:pt x="1260" y="304"/>
                    <a:pt x="1260" y="304"/>
                    <a:pt x="1260" y="304"/>
                  </a:cubicBezTo>
                  <a:cubicBezTo>
                    <a:pt x="1260" y="304"/>
                    <a:pt x="1290" y="348"/>
                    <a:pt x="1258" y="362"/>
                  </a:cubicBezTo>
                  <a:cubicBezTo>
                    <a:pt x="1225" y="375"/>
                    <a:pt x="1173" y="345"/>
                    <a:pt x="1153" y="312"/>
                  </a:cubicBezTo>
                  <a:cubicBezTo>
                    <a:pt x="1134" y="280"/>
                    <a:pt x="1203" y="247"/>
                    <a:pt x="1203" y="247"/>
                  </a:cubicBezTo>
                  <a:cubicBezTo>
                    <a:pt x="1219" y="203"/>
                    <a:pt x="1219" y="203"/>
                    <a:pt x="1219" y="203"/>
                  </a:cubicBezTo>
                  <a:cubicBezTo>
                    <a:pt x="1219" y="203"/>
                    <a:pt x="1181" y="137"/>
                    <a:pt x="1181" y="112"/>
                  </a:cubicBezTo>
                  <a:cubicBezTo>
                    <a:pt x="1181" y="88"/>
                    <a:pt x="1238" y="79"/>
                    <a:pt x="1238" y="79"/>
                  </a:cubicBezTo>
                  <a:cubicBezTo>
                    <a:pt x="1203" y="19"/>
                    <a:pt x="1203" y="19"/>
                    <a:pt x="1203" y="19"/>
                  </a:cubicBezTo>
                  <a:cubicBezTo>
                    <a:pt x="1115" y="0"/>
                    <a:pt x="1115" y="0"/>
                    <a:pt x="1115" y="0"/>
                  </a:cubicBezTo>
                  <a:cubicBezTo>
                    <a:pt x="1030" y="38"/>
                    <a:pt x="1030" y="38"/>
                    <a:pt x="1030" y="38"/>
                  </a:cubicBezTo>
                  <a:cubicBezTo>
                    <a:pt x="1011" y="126"/>
                    <a:pt x="1011" y="126"/>
                    <a:pt x="1011" y="126"/>
                  </a:cubicBezTo>
                  <a:cubicBezTo>
                    <a:pt x="879" y="206"/>
                    <a:pt x="879" y="206"/>
                    <a:pt x="879" y="206"/>
                  </a:cubicBezTo>
                  <a:cubicBezTo>
                    <a:pt x="830" y="143"/>
                    <a:pt x="830" y="143"/>
                    <a:pt x="830" y="143"/>
                  </a:cubicBezTo>
                  <a:cubicBezTo>
                    <a:pt x="756" y="164"/>
                    <a:pt x="756" y="164"/>
                    <a:pt x="756" y="164"/>
                  </a:cubicBezTo>
                  <a:cubicBezTo>
                    <a:pt x="767" y="266"/>
                    <a:pt x="767" y="266"/>
                    <a:pt x="767" y="266"/>
                  </a:cubicBezTo>
                  <a:cubicBezTo>
                    <a:pt x="622" y="266"/>
                    <a:pt x="622" y="266"/>
                    <a:pt x="622" y="266"/>
                  </a:cubicBezTo>
                  <a:cubicBezTo>
                    <a:pt x="537" y="362"/>
                    <a:pt x="537" y="362"/>
                    <a:pt x="537" y="362"/>
                  </a:cubicBezTo>
                  <a:cubicBezTo>
                    <a:pt x="553" y="400"/>
                    <a:pt x="553" y="400"/>
                    <a:pt x="553" y="400"/>
                  </a:cubicBezTo>
                  <a:cubicBezTo>
                    <a:pt x="622" y="381"/>
                    <a:pt x="622" y="381"/>
                    <a:pt x="622" y="381"/>
                  </a:cubicBezTo>
                  <a:cubicBezTo>
                    <a:pt x="622" y="381"/>
                    <a:pt x="652" y="395"/>
                    <a:pt x="652" y="447"/>
                  </a:cubicBezTo>
                  <a:cubicBezTo>
                    <a:pt x="652" y="499"/>
                    <a:pt x="619" y="545"/>
                    <a:pt x="619" y="545"/>
                  </a:cubicBezTo>
                  <a:cubicBezTo>
                    <a:pt x="509" y="559"/>
                    <a:pt x="509" y="559"/>
                    <a:pt x="509" y="559"/>
                  </a:cubicBezTo>
                  <a:cubicBezTo>
                    <a:pt x="507" y="619"/>
                    <a:pt x="507" y="619"/>
                    <a:pt x="507" y="619"/>
                  </a:cubicBezTo>
                  <a:cubicBezTo>
                    <a:pt x="419" y="767"/>
                    <a:pt x="419" y="767"/>
                    <a:pt x="419" y="767"/>
                  </a:cubicBezTo>
                  <a:cubicBezTo>
                    <a:pt x="334" y="759"/>
                    <a:pt x="334" y="759"/>
                    <a:pt x="334" y="759"/>
                  </a:cubicBezTo>
                  <a:cubicBezTo>
                    <a:pt x="252" y="855"/>
                    <a:pt x="252" y="855"/>
                    <a:pt x="252" y="855"/>
                  </a:cubicBezTo>
                  <a:cubicBezTo>
                    <a:pt x="265" y="904"/>
                    <a:pt x="265" y="904"/>
                    <a:pt x="265" y="904"/>
                  </a:cubicBezTo>
                  <a:cubicBezTo>
                    <a:pt x="234" y="949"/>
                    <a:pt x="234" y="949"/>
                    <a:pt x="234" y="949"/>
                  </a:cubicBezTo>
                  <a:cubicBezTo>
                    <a:pt x="235" y="949"/>
                    <a:pt x="235" y="949"/>
                    <a:pt x="235" y="949"/>
                  </a:cubicBezTo>
                  <a:cubicBezTo>
                    <a:pt x="241" y="1103"/>
                    <a:pt x="241" y="1103"/>
                    <a:pt x="241" y="1103"/>
                  </a:cubicBezTo>
                  <a:cubicBezTo>
                    <a:pt x="163" y="1079"/>
                    <a:pt x="163" y="1079"/>
                    <a:pt x="163" y="1079"/>
                  </a:cubicBezTo>
                  <a:cubicBezTo>
                    <a:pt x="163" y="1079"/>
                    <a:pt x="125" y="1166"/>
                    <a:pt x="144" y="1222"/>
                  </a:cubicBezTo>
                  <a:cubicBezTo>
                    <a:pt x="163" y="1279"/>
                    <a:pt x="225" y="1325"/>
                    <a:pt x="217" y="1355"/>
                  </a:cubicBezTo>
                  <a:cubicBezTo>
                    <a:pt x="208" y="1384"/>
                    <a:pt x="141" y="1401"/>
                    <a:pt x="141" y="1401"/>
                  </a:cubicBezTo>
                  <a:cubicBezTo>
                    <a:pt x="68" y="1468"/>
                    <a:pt x="68" y="1468"/>
                    <a:pt x="68" y="1468"/>
                  </a:cubicBezTo>
                  <a:cubicBezTo>
                    <a:pt x="106" y="1487"/>
                    <a:pt x="106" y="1487"/>
                    <a:pt x="106" y="1487"/>
                  </a:cubicBezTo>
                  <a:cubicBezTo>
                    <a:pt x="95" y="1517"/>
                    <a:pt x="95" y="1517"/>
                    <a:pt x="95" y="1517"/>
                  </a:cubicBezTo>
                  <a:cubicBezTo>
                    <a:pt x="38" y="1512"/>
                    <a:pt x="38" y="1512"/>
                    <a:pt x="38" y="1512"/>
                  </a:cubicBezTo>
                  <a:cubicBezTo>
                    <a:pt x="0" y="1566"/>
                    <a:pt x="0" y="1566"/>
                    <a:pt x="0" y="1566"/>
                  </a:cubicBezTo>
                  <a:cubicBezTo>
                    <a:pt x="46" y="1649"/>
                    <a:pt x="46" y="1649"/>
                    <a:pt x="46" y="1649"/>
                  </a:cubicBezTo>
                  <a:cubicBezTo>
                    <a:pt x="273" y="1587"/>
                    <a:pt x="273" y="1587"/>
                    <a:pt x="273" y="1587"/>
                  </a:cubicBezTo>
                  <a:cubicBezTo>
                    <a:pt x="273" y="1587"/>
                    <a:pt x="357" y="1652"/>
                    <a:pt x="354" y="1687"/>
                  </a:cubicBezTo>
                  <a:cubicBezTo>
                    <a:pt x="352" y="1722"/>
                    <a:pt x="352" y="1771"/>
                    <a:pt x="352" y="1771"/>
                  </a:cubicBezTo>
                  <a:cubicBezTo>
                    <a:pt x="427" y="1874"/>
                    <a:pt x="427" y="1874"/>
                    <a:pt x="427" y="1874"/>
                  </a:cubicBezTo>
                  <a:cubicBezTo>
                    <a:pt x="352" y="1947"/>
                    <a:pt x="352" y="1947"/>
                    <a:pt x="352" y="1947"/>
                  </a:cubicBezTo>
                  <a:cubicBezTo>
                    <a:pt x="401" y="2065"/>
                    <a:pt x="401" y="2065"/>
                    <a:pt x="401" y="2065"/>
                  </a:cubicBezTo>
                  <a:lnTo>
                    <a:pt x="423" y="2063"/>
                  </a:lnTo>
                  <a:close/>
                </a:path>
              </a:pathLst>
            </a:custGeom>
            <a:solidFill>
              <a:schemeClr val="accent6"/>
            </a:solidFill>
            <a:ln w="6350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 dirty="0">
                <a:solidFill>
                  <a:schemeClr val="bg1"/>
                </a:solidFill>
              </a:endParaRPr>
            </a:p>
          </p:txBody>
        </p:sp>
        <p:sp>
          <p:nvSpPr>
            <p:cNvPr id="26" name="Mecklemburg-Vorpommern"/>
            <p:cNvSpPr>
              <a:spLocks noEditPoints="1"/>
            </p:cNvSpPr>
            <p:nvPr/>
          </p:nvSpPr>
          <p:spPr bwMode="gray">
            <a:xfrm>
              <a:off x="5759837" y="503772"/>
              <a:ext cx="1781973" cy="1236252"/>
            </a:xfrm>
            <a:custGeom>
              <a:avLst/>
              <a:gdLst>
                <a:gd name="T0" fmla="*/ 2190 w 2326"/>
                <a:gd name="T1" fmla="*/ 986 h 1612"/>
                <a:gd name="T2" fmla="*/ 1996 w 2326"/>
                <a:gd name="T3" fmla="*/ 901 h 1612"/>
                <a:gd name="T4" fmla="*/ 1913 w 2326"/>
                <a:gd name="T5" fmla="*/ 625 h 1612"/>
                <a:gd name="T6" fmla="*/ 1683 w 2326"/>
                <a:gd name="T7" fmla="*/ 535 h 1612"/>
                <a:gd name="T8" fmla="*/ 1379 w 2326"/>
                <a:gd name="T9" fmla="*/ 344 h 1612"/>
                <a:gd name="T10" fmla="*/ 1124 w 2326"/>
                <a:gd name="T11" fmla="*/ 486 h 1612"/>
                <a:gd name="T12" fmla="*/ 1281 w 2326"/>
                <a:gd name="T13" fmla="*/ 315 h 1612"/>
                <a:gd name="T14" fmla="*/ 1141 w 2326"/>
                <a:gd name="T15" fmla="*/ 305 h 1612"/>
                <a:gd name="T16" fmla="*/ 770 w 2326"/>
                <a:gd name="T17" fmla="*/ 601 h 1612"/>
                <a:gd name="T18" fmla="*/ 635 w 2326"/>
                <a:gd name="T19" fmla="*/ 654 h 1612"/>
                <a:gd name="T20" fmla="*/ 423 w 2326"/>
                <a:gd name="T21" fmla="*/ 808 h 1612"/>
                <a:gd name="T22" fmla="*/ 267 w 2326"/>
                <a:gd name="T23" fmla="*/ 826 h 1612"/>
                <a:gd name="T24" fmla="*/ 139 w 2326"/>
                <a:gd name="T25" fmla="*/ 886 h 1612"/>
                <a:gd name="T26" fmla="*/ 262 w 2326"/>
                <a:gd name="T27" fmla="*/ 1050 h 1612"/>
                <a:gd name="T28" fmla="*/ 174 w 2326"/>
                <a:gd name="T29" fmla="*/ 1225 h 1612"/>
                <a:gd name="T30" fmla="*/ 287 w 2326"/>
                <a:gd name="T31" fmla="*/ 1393 h 1612"/>
                <a:gd name="T32" fmla="*/ 438 w 2326"/>
                <a:gd name="T33" fmla="*/ 1580 h 1612"/>
                <a:gd name="T34" fmla="*/ 634 w 2326"/>
                <a:gd name="T35" fmla="*/ 1588 h 1612"/>
                <a:gd name="T36" fmla="*/ 922 w 2326"/>
                <a:gd name="T37" fmla="*/ 1365 h 1612"/>
                <a:gd name="T38" fmla="*/ 1213 w 2326"/>
                <a:gd name="T39" fmla="*/ 1463 h 1612"/>
                <a:gd name="T40" fmla="*/ 1562 w 2326"/>
                <a:gd name="T41" fmla="*/ 1482 h 1612"/>
                <a:gd name="T42" fmla="*/ 1879 w 2326"/>
                <a:gd name="T43" fmla="*/ 1276 h 1612"/>
                <a:gd name="T44" fmla="*/ 2014 w 2326"/>
                <a:gd name="T45" fmla="*/ 1167 h 1612"/>
                <a:gd name="T46" fmla="*/ 2228 w 2326"/>
                <a:gd name="T47" fmla="*/ 1241 h 1612"/>
                <a:gd name="T48" fmla="*/ 2254 w 2326"/>
                <a:gd name="T49" fmla="*/ 1387 h 1612"/>
                <a:gd name="T50" fmla="*/ 1964 w 2326"/>
                <a:gd name="T51" fmla="*/ 657 h 1612"/>
                <a:gd name="T52" fmla="*/ 2040 w 2326"/>
                <a:gd name="T53" fmla="*/ 747 h 1612"/>
                <a:gd name="T54" fmla="*/ 2034 w 2326"/>
                <a:gd name="T55" fmla="*/ 830 h 1612"/>
                <a:gd name="T56" fmla="*/ 1928 w 2326"/>
                <a:gd name="T57" fmla="*/ 517 h 1612"/>
                <a:gd name="T58" fmla="*/ 1547 w 2326"/>
                <a:gd name="T59" fmla="*/ 268 h 1612"/>
                <a:gd name="T60" fmla="*/ 1535 w 2326"/>
                <a:gd name="T61" fmla="*/ 394 h 1612"/>
                <a:gd name="T62" fmla="*/ 1713 w 2326"/>
                <a:gd name="T63" fmla="*/ 455 h 1612"/>
                <a:gd name="T64" fmla="*/ 1843 w 2326"/>
                <a:gd name="T65" fmla="*/ 338 h 1612"/>
                <a:gd name="T66" fmla="*/ 1834 w 2326"/>
                <a:gd name="T67" fmla="*/ 391 h 1612"/>
                <a:gd name="T68" fmla="*/ 1793 w 2326"/>
                <a:gd name="T69" fmla="*/ 250 h 1612"/>
                <a:gd name="T70" fmla="*/ 1676 w 2326"/>
                <a:gd name="T71" fmla="*/ 2 h 1612"/>
                <a:gd name="T72" fmla="*/ 1604 w 2326"/>
                <a:gd name="T73" fmla="*/ 127 h 1612"/>
                <a:gd name="T74" fmla="*/ 1675 w 2326"/>
                <a:gd name="T75" fmla="*/ 138 h 1612"/>
                <a:gd name="T76" fmla="*/ 1644 w 2326"/>
                <a:gd name="T77" fmla="*/ 178 h 1612"/>
                <a:gd name="T78" fmla="*/ 2017 w 2326"/>
                <a:gd name="T79" fmla="*/ 442 h 1612"/>
                <a:gd name="T80" fmla="*/ 1496 w 2326"/>
                <a:gd name="T81" fmla="*/ 250 h 1612"/>
                <a:gd name="T82" fmla="*/ 543 w 2326"/>
                <a:gd name="T83" fmla="*/ 742 h 1612"/>
                <a:gd name="T84" fmla="*/ 492 w 2326"/>
                <a:gd name="T85" fmla="*/ 754 h 1612"/>
                <a:gd name="T86" fmla="*/ 1486 w 2326"/>
                <a:gd name="T87" fmla="*/ 221 h 1612"/>
                <a:gd name="T88" fmla="*/ 1577 w 2326"/>
                <a:gd name="T89" fmla="*/ 219 h 1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326" h="1612">
                  <a:moveTo>
                    <a:pt x="2326" y="1357"/>
                  </a:moveTo>
                  <a:cubicBezTo>
                    <a:pt x="2322" y="1345"/>
                    <a:pt x="2312" y="1326"/>
                    <a:pt x="2311" y="1323"/>
                  </a:cubicBezTo>
                  <a:cubicBezTo>
                    <a:pt x="2256" y="1224"/>
                    <a:pt x="2298" y="1040"/>
                    <a:pt x="2190" y="986"/>
                  </a:cubicBezTo>
                  <a:cubicBezTo>
                    <a:pt x="2179" y="980"/>
                    <a:pt x="2233" y="954"/>
                    <a:pt x="2216" y="940"/>
                  </a:cubicBezTo>
                  <a:cubicBezTo>
                    <a:pt x="2194" y="923"/>
                    <a:pt x="2114" y="957"/>
                    <a:pt x="2070" y="943"/>
                  </a:cubicBezTo>
                  <a:cubicBezTo>
                    <a:pt x="2061" y="939"/>
                    <a:pt x="2004" y="909"/>
                    <a:pt x="1996" y="901"/>
                  </a:cubicBezTo>
                  <a:cubicBezTo>
                    <a:pt x="1967" y="872"/>
                    <a:pt x="1922" y="858"/>
                    <a:pt x="1960" y="818"/>
                  </a:cubicBezTo>
                  <a:cubicBezTo>
                    <a:pt x="2020" y="755"/>
                    <a:pt x="1964" y="794"/>
                    <a:pt x="1957" y="736"/>
                  </a:cubicBezTo>
                  <a:cubicBezTo>
                    <a:pt x="1949" y="673"/>
                    <a:pt x="1888" y="711"/>
                    <a:pt x="1913" y="625"/>
                  </a:cubicBezTo>
                  <a:cubicBezTo>
                    <a:pt x="1924" y="587"/>
                    <a:pt x="1870" y="590"/>
                    <a:pt x="1874" y="556"/>
                  </a:cubicBezTo>
                  <a:cubicBezTo>
                    <a:pt x="1880" y="516"/>
                    <a:pt x="1729" y="618"/>
                    <a:pt x="1734" y="621"/>
                  </a:cubicBezTo>
                  <a:cubicBezTo>
                    <a:pt x="1723" y="620"/>
                    <a:pt x="1688" y="545"/>
                    <a:pt x="1683" y="535"/>
                  </a:cubicBezTo>
                  <a:cubicBezTo>
                    <a:pt x="1683" y="535"/>
                    <a:pt x="1517" y="447"/>
                    <a:pt x="1510" y="426"/>
                  </a:cubicBezTo>
                  <a:cubicBezTo>
                    <a:pt x="1501" y="395"/>
                    <a:pt x="1448" y="296"/>
                    <a:pt x="1458" y="282"/>
                  </a:cubicBezTo>
                  <a:cubicBezTo>
                    <a:pt x="1443" y="303"/>
                    <a:pt x="1375" y="308"/>
                    <a:pt x="1379" y="344"/>
                  </a:cubicBezTo>
                  <a:cubicBezTo>
                    <a:pt x="1386" y="409"/>
                    <a:pt x="1307" y="340"/>
                    <a:pt x="1318" y="334"/>
                  </a:cubicBezTo>
                  <a:cubicBezTo>
                    <a:pt x="1287" y="350"/>
                    <a:pt x="1247" y="331"/>
                    <a:pt x="1216" y="376"/>
                  </a:cubicBezTo>
                  <a:cubicBezTo>
                    <a:pt x="1150" y="348"/>
                    <a:pt x="1121" y="486"/>
                    <a:pt x="1124" y="486"/>
                  </a:cubicBezTo>
                  <a:cubicBezTo>
                    <a:pt x="1028" y="486"/>
                    <a:pt x="1125" y="411"/>
                    <a:pt x="1102" y="400"/>
                  </a:cubicBezTo>
                  <a:cubicBezTo>
                    <a:pt x="1081" y="389"/>
                    <a:pt x="1182" y="346"/>
                    <a:pt x="1216" y="346"/>
                  </a:cubicBezTo>
                  <a:cubicBezTo>
                    <a:pt x="1197" y="346"/>
                    <a:pt x="1270" y="316"/>
                    <a:pt x="1281" y="315"/>
                  </a:cubicBezTo>
                  <a:cubicBezTo>
                    <a:pt x="1317" y="313"/>
                    <a:pt x="1401" y="328"/>
                    <a:pt x="1418" y="282"/>
                  </a:cubicBezTo>
                  <a:cubicBezTo>
                    <a:pt x="1410" y="304"/>
                    <a:pt x="1324" y="299"/>
                    <a:pt x="1255" y="280"/>
                  </a:cubicBezTo>
                  <a:cubicBezTo>
                    <a:pt x="1212" y="269"/>
                    <a:pt x="1150" y="218"/>
                    <a:pt x="1141" y="305"/>
                  </a:cubicBezTo>
                  <a:cubicBezTo>
                    <a:pt x="1137" y="337"/>
                    <a:pt x="1061" y="351"/>
                    <a:pt x="1037" y="385"/>
                  </a:cubicBezTo>
                  <a:cubicBezTo>
                    <a:pt x="978" y="467"/>
                    <a:pt x="947" y="565"/>
                    <a:pt x="902" y="564"/>
                  </a:cubicBezTo>
                  <a:cubicBezTo>
                    <a:pt x="852" y="563"/>
                    <a:pt x="817" y="601"/>
                    <a:pt x="770" y="601"/>
                  </a:cubicBezTo>
                  <a:cubicBezTo>
                    <a:pt x="727" y="601"/>
                    <a:pt x="714" y="572"/>
                    <a:pt x="676" y="585"/>
                  </a:cubicBezTo>
                  <a:cubicBezTo>
                    <a:pt x="658" y="591"/>
                    <a:pt x="549" y="678"/>
                    <a:pt x="566" y="692"/>
                  </a:cubicBezTo>
                  <a:cubicBezTo>
                    <a:pt x="592" y="714"/>
                    <a:pt x="613" y="654"/>
                    <a:pt x="635" y="654"/>
                  </a:cubicBezTo>
                  <a:cubicBezTo>
                    <a:pt x="621" y="654"/>
                    <a:pt x="566" y="757"/>
                    <a:pt x="564" y="774"/>
                  </a:cubicBezTo>
                  <a:cubicBezTo>
                    <a:pt x="552" y="864"/>
                    <a:pt x="540" y="806"/>
                    <a:pt x="494" y="806"/>
                  </a:cubicBezTo>
                  <a:cubicBezTo>
                    <a:pt x="472" y="806"/>
                    <a:pt x="449" y="808"/>
                    <a:pt x="423" y="808"/>
                  </a:cubicBezTo>
                  <a:cubicBezTo>
                    <a:pt x="451" y="808"/>
                    <a:pt x="402" y="744"/>
                    <a:pt x="380" y="736"/>
                  </a:cubicBezTo>
                  <a:cubicBezTo>
                    <a:pt x="360" y="729"/>
                    <a:pt x="289" y="730"/>
                    <a:pt x="273" y="742"/>
                  </a:cubicBezTo>
                  <a:cubicBezTo>
                    <a:pt x="208" y="791"/>
                    <a:pt x="173" y="786"/>
                    <a:pt x="267" y="826"/>
                  </a:cubicBezTo>
                  <a:cubicBezTo>
                    <a:pt x="229" y="810"/>
                    <a:pt x="186" y="844"/>
                    <a:pt x="147" y="879"/>
                  </a:cubicBezTo>
                  <a:cubicBezTo>
                    <a:pt x="145" y="881"/>
                    <a:pt x="142" y="883"/>
                    <a:pt x="140" y="886"/>
                  </a:cubicBezTo>
                  <a:cubicBezTo>
                    <a:pt x="140" y="886"/>
                    <a:pt x="139" y="886"/>
                    <a:pt x="139" y="886"/>
                  </a:cubicBezTo>
                  <a:cubicBezTo>
                    <a:pt x="152" y="900"/>
                    <a:pt x="152" y="900"/>
                    <a:pt x="152" y="900"/>
                  </a:cubicBezTo>
                  <a:cubicBezTo>
                    <a:pt x="147" y="980"/>
                    <a:pt x="147" y="980"/>
                    <a:pt x="147" y="980"/>
                  </a:cubicBezTo>
                  <a:cubicBezTo>
                    <a:pt x="147" y="980"/>
                    <a:pt x="237" y="1011"/>
                    <a:pt x="262" y="1050"/>
                  </a:cubicBezTo>
                  <a:cubicBezTo>
                    <a:pt x="287" y="1090"/>
                    <a:pt x="249" y="1144"/>
                    <a:pt x="249" y="1144"/>
                  </a:cubicBezTo>
                  <a:cubicBezTo>
                    <a:pt x="185" y="1154"/>
                    <a:pt x="185" y="1154"/>
                    <a:pt x="185" y="1154"/>
                  </a:cubicBezTo>
                  <a:cubicBezTo>
                    <a:pt x="174" y="1225"/>
                    <a:pt x="174" y="1225"/>
                    <a:pt x="174" y="1225"/>
                  </a:cubicBezTo>
                  <a:cubicBezTo>
                    <a:pt x="174" y="1225"/>
                    <a:pt x="0" y="1312"/>
                    <a:pt x="100" y="1373"/>
                  </a:cubicBezTo>
                  <a:cubicBezTo>
                    <a:pt x="199" y="1433"/>
                    <a:pt x="247" y="1389"/>
                    <a:pt x="247" y="1389"/>
                  </a:cubicBezTo>
                  <a:cubicBezTo>
                    <a:pt x="287" y="1393"/>
                    <a:pt x="287" y="1393"/>
                    <a:pt x="287" y="1393"/>
                  </a:cubicBezTo>
                  <a:cubicBezTo>
                    <a:pt x="297" y="1443"/>
                    <a:pt x="297" y="1443"/>
                    <a:pt x="297" y="1443"/>
                  </a:cubicBezTo>
                  <a:cubicBezTo>
                    <a:pt x="399" y="1576"/>
                    <a:pt x="399" y="1576"/>
                    <a:pt x="399" y="1576"/>
                  </a:cubicBezTo>
                  <a:cubicBezTo>
                    <a:pt x="438" y="1580"/>
                    <a:pt x="438" y="1580"/>
                    <a:pt x="438" y="1580"/>
                  </a:cubicBezTo>
                  <a:cubicBezTo>
                    <a:pt x="465" y="1612"/>
                    <a:pt x="465" y="1612"/>
                    <a:pt x="465" y="1612"/>
                  </a:cubicBezTo>
                  <a:cubicBezTo>
                    <a:pt x="467" y="1603"/>
                    <a:pt x="467" y="1603"/>
                    <a:pt x="467" y="1603"/>
                  </a:cubicBezTo>
                  <a:cubicBezTo>
                    <a:pt x="634" y="1588"/>
                    <a:pt x="634" y="1588"/>
                    <a:pt x="634" y="1588"/>
                  </a:cubicBezTo>
                  <a:cubicBezTo>
                    <a:pt x="634" y="1588"/>
                    <a:pt x="615" y="1490"/>
                    <a:pt x="681" y="1479"/>
                  </a:cubicBezTo>
                  <a:cubicBezTo>
                    <a:pt x="748" y="1469"/>
                    <a:pt x="798" y="1498"/>
                    <a:pt x="843" y="1471"/>
                  </a:cubicBezTo>
                  <a:cubicBezTo>
                    <a:pt x="888" y="1445"/>
                    <a:pt x="877" y="1381"/>
                    <a:pt x="922" y="1365"/>
                  </a:cubicBezTo>
                  <a:cubicBezTo>
                    <a:pt x="967" y="1350"/>
                    <a:pt x="1028" y="1363"/>
                    <a:pt x="1028" y="1363"/>
                  </a:cubicBezTo>
                  <a:cubicBezTo>
                    <a:pt x="1060" y="1392"/>
                    <a:pt x="1060" y="1392"/>
                    <a:pt x="1060" y="1392"/>
                  </a:cubicBezTo>
                  <a:cubicBezTo>
                    <a:pt x="1213" y="1463"/>
                    <a:pt x="1213" y="1463"/>
                    <a:pt x="1213" y="1463"/>
                  </a:cubicBezTo>
                  <a:cubicBezTo>
                    <a:pt x="1364" y="1490"/>
                    <a:pt x="1364" y="1490"/>
                    <a:pt x="1364" y="1490"/>
                  </a:cubicBezTo>
                  <a:cubicBezTo>
                    <a:pt x="1364" y="1490"/>
                    <a:pt x="1432" y="1556"/>
                    <a:pt x="1488" y="1535"/>
                  </a:cubicBezTo>
                  <a:cubicBezTo>
                    <a:pt x="1543" y="1514"/>
                    <a:pt x="1562" y="1482"/>
                    <a:pt x="1562" y="1482"/>
                  </a:cubicBezTo>
                  <a:cubicBezTo>
                    <a:pt x="1781" y="1413"/>
                    <a:pt x="1781" y="1413"/>
                    <a:pt x="1781" y="1413"/>
                  </a:cubicBezTo>
                  <a:cubicBezTo>
                    <a:pt x="1813" y="1281"/>
                    <a:pt x="1813" y="1281"/>
                    <a:pt x="1813" y="1281"/>
                  </a:cubicBezTo>
                  <a:cubicBezTo>
                    <a:pt x="1879" y="1276"/>
                    <a:pt x="1879" y="1276"/>
                    <a:pt x="1879" y="1276"/>
                  </a:cubicBezTo>
                  <a:cubicBezTo>
                    <a:pt x="1879" y="1276"/>
                    <a:pt x="1884" y="1217"/>
                    <a:pt x="1919" y="1215"/>
                  </a:cubicBezTo>
                  <a:cubicBezTo>
                    <a:pt x="1953" y="1212"/>
                    <a:pt x="1961" y="1138"/>
                    <a:pt x="1961" y="1138"/>
                  </a:cubicBezTo>
                  <a:cubicBezTo>
                    <a:pt x="2014" y="1167"/>
                    <a:pt x="2014" y="1167"/>
                    <a:pt x="2014" y="1167"/>
                  </a:cubicBezTo>
                  <a:cubicBezTo>
                    <a:pt x="2059" y="1257"/>
                    <a:pt x="2059" y="1257"/>
                    <a:pt x="2059" y="1257"/>
                  </a:cubicBezTo>
                  <a:cubicBezTo>
                    <a:pt x="2146" y="1268"/>
                    <a:pt x="2146" y="1268"/>
                    <a:pt x="2146" y="1268"/>
                  </a:cubicBezTo>
                  <a:cubicBezTo>
                    <a:pt x="2228" y="1241"/>
                    <a:pt x="2228" y="1241"/>
                    <a:pt x="2228" y="1241"/>
                  </a:cubicBezTo>
                  <a:cubicBezTo>
                    <a:pt x="2159" y="1418"/>
                    <a:pt x="2159" y="1418"/>
                    <a:pt x="2159" y="1418"/>
                  </a:cubicBezTo>
                  <a:cubicBezTo>
                    <a:pt x="2265" y="1424"/>
                    <a:pt x="2265" y="1424"/>
                    <a:pt x="2265" y="1424"/>
                  </a:cubicBezTo>
                  <a:cubicBezTo>
                    <a:pt x="2254" y="1387"/>
                    <a:pt x="2254" y="1387"/>
                    <a:pt x="2254" y="1387"/>
                  </a:cubicBezTo>
                  <a:lnTo>
                    <a:pt x="2326" y="1357"/>
                  </a:lnTo>
                  <a:close/>
                  <a:moveTo>
                    <a:pt x="1931" y="658"/>
                  </a:moveTo>
                  <a:cubicBezTo>
                    <a:pt x="1930" y="658"/>
                    <a:pt x="1950" y="676"/>
                    <a:pt x="1964" y="657"/>
                  </a:cubicBezTo>
                  <a:cubicBezTo>
                    <a:pt x="1971" y="666"/>
                    <a:pt x="1983" y="667"/>
                    <a:pt x="1997" y="676"/>
                  </a:cubicBezTo>
                  <a:cubicBezTo>
                    <a:pt x="2004" y="636"/>
                    <a:pt x="2097" y="652"/>
                    <a:pt x="2086" y="743"/>
                  </a:cubicBezTo>
                  <a:cubicBezTo>
                    <a:pt x="2056" y="728"/>
                    <a:pt x="2069" y="740"/>
                    <a:pt x="2040" y="747"/>
                  </a:cubicBezTo>
                  <a:cubicBezTo>
                    <a:pt x="2037" y="737"/>
                    <a:pt x="2039" y="704"/>
                    <a:pt x="2037" y="692"/>
                  </a:cubicBezTo>
                  <a:cubicBezTo>
                    <a:pt x="2002" y="752"/>
                    <a:pt x="2057" y="793"/>
                    <a:pt x="1972" y="827"/>
                  </a:cubicBezTo>
                  <a:cubicBezTo>
                    <a:pt x="1959" y="832"/>
                    <a:pt x="2023" y="833"/>
                    <a:pt x="2034" y="830"/>
                  </a:cubicBezTo>
                  <a:cubicBezTo>
                    <a:pt x="2047" y="825"/>
                    <a:pt x="2219" y="786"/>
                    <a:pt x="2235" y="834"/>
                  </a:cubicBezTo>
                  <a:cubicBezTo>
                    <a:pt x="2217" y="781"/>
                    <a:pt x="2178" y="696"/>
                    <a:pt x="2119" y="674"/>
                  </a:cubicBezTo>
                  <a:cubicBezTo>
                    <a:pt x="2057" y="651"/>
                    <a:pt x="1983" y="528"/>
                    <a:pt x="1928" y="517"/>
                  </a:cubicBezTo>
                  <a:cubicBezTo>
                    <a:pt x="1926" y="517"/>
                    <a:pt x="1933" y="647"/>
                    <a:pt x="1931" y="658"/>
                  </a:cubicBezTo>
                  <a:close/>
                  <a:moveTo>
                    <a:pt x="1612" y="219"/>
                  </a:moveTo>
                  <a:cubicBezTo>
                    <a:pt x="1616" y="236"/>
                    <a:pt x="1537" y="243"/>
                    <a:pt x="1547" y="268"/>
                  </a:cubicBezTo>
                  <a:cubicBezTo>
                    <a:pt x="1552" y="282"/>
                    <a:pt x="1592" y="249"/>
                    <a:pt x="1594" y="280"/>
                  </a:cubicBezTo>
                  <a:cubicBezTo>
                    <a:pt x="1595" y="314"/>
                    <a:pt x="1619" y="318"/>
                    <a:pt x="1566" y="318"/>
                  </a:cubicBezTo>
                  <a:cubicBezTo>
                    <a:pt x="1524" y="318"/>
                    <a:pt x="1521" y="366"/>
                    <a:pt x="1535" y="394"/>
                  </a:cubicBezTo>
                  <a:cubicBezTo>
                    <a:pt x="1549" y="404"/>
                    <a:pt x="1629" y="445"/>
                    <a:pt x="1654" y="435"/>
                  </a:cubicBezTo>
                  <a:cubicBezTo>
                    <a:pt x="1664" y="454"/>
                    <a:pt x="1651" y="452"/>
                    <a:pt x="1651" y="461"/>
                  </a:cubicBezTo>
                  <a:cubicBezTo>
                    <a:pt x="1664" y="466"/>
                    <a:pt x="1709" y="477"/>
                    <a:pt x="1713" y="455"/>
                  </a:cubicBezTo>
                  <a:cubicBezTo>
                    <a:pt x="1718" y="424"/>
                    <a:pt x="1675" y="448"/>
                    <a:pt x="1675" y="427"/>
                  </a:cubicBezTo>
                  <a:cubicBezTo>
                    <a:pt x="1675" y="396"/>
                    <a:pt x="1750" y="398"/>
                    <a:pt x="1719" y="352"/>
                  </a:cubicBezTo>
                  <a:cubicBezTo>
                    <a:pt x="1735" y="350"/>
                    <a:pt x="1835" y="329"/>
                    <a:pt x="1843" y="338"/>
                  </a:cubicBezTo>
                  <a:cubicBezTo>
                    <a:pt x="1849" y="346"/>
                    <a:pt x="1813" y="364"/>
                    <a:pt x="1817" y="366"/>
                  </a:cubicBezTo>
                  <a:cubicBezTo>
                    <a:pt x="1831" y="363"/>
                    <a:pt x="1845" y="360"/>
                    <a:pt x="1859" y="357"/>
                  </a:cubicBezTo>
                  <a:cubicBezTo>
                    <a:pt x="1865" y="363"/>
                    <a:pt x="1826" y="383"/>
                    <a:pt x="1834" y="391"/>
                  </a:cubicBezTo>
                  <a:cubicBezTo>
                    <a:pt x="1836" y="393"/>
                    <a:pt x="1882" y="413"/>
                    <a:pt x="1882" y="413"/>
                  </a:cubicBezTo>
                  <a:cubicBezTo>
                    <a:pt x="1878" y="389"/>
                    <a:pt x="1910" y="338"/>
                    <a:pt x="1910" y="341"/>
                  </a:cubicBezTo>
                  <a:cubicBezTo>
                    <a:pt x="1916" y="315"/>
                    <a:pt x="1800" y="274"/>
                    <a:pt x="1793" y="250"/>
                  </a:cubicBezTo>
                  <a:cubicBezTo>
                    <a:pt x="1773" y="185"/>
                    <a:pt x="1927" y="70"/>
                    <a:pt x="1751" y="109"/>
                  </a:cubicBezTo>
                  <a:cubicBezTo>
                    <a:pt x="1726" y="115"/>
                    <a:pt x="1674" y="77"/>
                    <a:pt x="1677" y="49"/>
                  </a:cubicBezTo>
                  <a:cubicBezTo>
                    <a:pt x="1679" y="33"/>
                    <a:pt x="1741" y="0"/>
                    <a:pt x="1676" y="2"/>
                  </a:cubicBezTo>
                  <a:cubicBezTo>
                    <a:pt x="1642" y="3"/>
                    <a:pt x="1508" y="93"/>
                    <a:pt x="1550" y="124"/>
                  </a:cubicBezTo>
                  <a:cubicBezTo>
                    <a:pt x="1572" y="141"/>
                    <a:pt x="1596" y="68"/>
                    <a:pt x="1599" y="66"/>
                  </a:cubicBezTo>
                  <a:cubicBezTo>
                    <a:pt x="1628" y="53"/>
                    <a:pt x="1601" y="126"/>
                    <a:pt x="1604" y="127"/>
                  </a:cubicBezTo>
                  <a:cubicBezTo>
                    <a:pt x="1630" y="134"/>
                    <a:pt x="1649" y="87"/>
                    <a:pt x="1672" y="87"/>
                  </a:cubicBezTo>
                  <a:cubicBezTo>
                    <a:pt x="1659" y="87"/>
                    <a:pt x="1745" y="157"/>
                    <a:pt x="1745" y="147"/>
                  </a:cubicBezTo>
                  <a:cubicBezTo>
                    <a:pt x="1745" y="287"/>
                    <a:pt x="1695" y="133"/>
                    <a:pt x="1675" y="138"/>
                  </a:cubicBezTo>
                  <a:cubicBezTo>
                    <a:pt x="1664" y="141"/>
                    <a:pt x="1678" y="167"/>
                    <a:pt x="1672" y="167"/>
                  </a:cubicBezTo>
                  <a:cubicBezTo>
                    <a:pt x="1657" y="167"/>
                    <a:pt x="1673" y="118"/>
                    <a:pt x="1658" y="114"/>
                  </a:cubicBezTo>
                  <a:cubicBezTo>
                    <a:pt x="1625" y="105"/>
                    <a:pt x="1634" y="166"/>
                    <a:pt x="1644" y="178"/>
                  </a:cubicBezTo>
                  <a:cubicBezTo>
                    <a:pt x="1632" y="163"/>
                    <a:pt x="1532" y="114"/>
                    <a:pt x="1538" y="156"/>
                  </a:cubicBezTo>
                  <a:cubicBezTo>
                    <a:pt x="1543" y="198"/>
                    <a:pt x="1603" y="182"/>
                    <a:pt x="1612" y="219"/>
                  </a:cubicBezTo>
                  <a:close/>
                  <a:moveTo>
                    <a:pt x="2017" y="442"/>
                  </a:moveTo>
                  <a:cubicBezTo>
                    <a:pt x="2012" y="422"/>
                    <a:pt x="2004" y="419"/>
                    <a:pt x="1991" y="433"/>
                  </a:cubicBezTo>
                  <a:cubicBezTo>
                    <a:pt x="1985" y="473"/>
                    <a:pt x="2009" y="441"/>
                    <a:pt x="2017" y="442"/>
                  </a:cubicBezTo>
                  <a:close/>
                  <a:moveTo>
                    <a:pt x="1496" y="250"/>
                  </a:moveTo>
                  <a:cubicBezTo>
                    <a:pt x="1503" y="238"/>
                    <a:pt x="1450" y="258"/>
                    <a:pt x="1452" y="257"/>
                  </a:cubicBezTo>
                  <a:cubicBezTo>
                    <a:pt x="1458" y="257"/>
                    <a:pt x="1484" y="269"/>
                    <a:pt x="1496" y="250"/>
                  </a:cubicBezTo>
                  <a:close/>
                  <a:moveTo>
                    <a:pt x="543" y="742"/>
                  </a:moveTo>
                  <a:cubicBezTo>
                    <a:pt x="533" y="759"/>
                    <a:pt x="532" y="761"/>
                    <a:pt x="548" y="761"/>
                  </a:cubicBezTo>
                  <a:cubicBezTo>
                    <a:pt x="548" y="757"/>
                    <a:pt x="580" y="705"/>
                    <a:pt x="560" y="702"/>
                  </a:cubicBezTo>
                  <a:cubicBezTo>
                    <a:pt x="555" y="701"/>
                    <a:pt x="465" y="724"/>
                    <a:pt x="492" y="754"/>
                  </a:cubicBezTo>
                  <a:cubicBezTo>
                    <a:pt x="520" y="786"/>
                    <a:pt x="521" y="746"/>
                    <a:pt x="543" y="742"/>
                  </a:cubicBezTo>
                  <a:close/>
                  <a:moveTo>
                    <a:pt x="1525" y="80"/>
                  </a:moveTo>
                  <a:cubicBezTo>
                    <a:pt x="1467" y="55"/>
                    <a:pt x="1480" y="205"/>
                    <a:pt x="1486" y="221"/>
                  </a:cubicBezTo>
                  <a:cubicBezTo>
                    <a:pt x="1501" y="198"/>
                    <a:pt x="1512" y="75"/>
                    <a:pt x="1525" y="80"/>
                  </a:cubicBezTo>
                  <a:close/>
                  <a:moveTo>
                    <a:pt x="1526" y="247"/>
                  </a:moveTo>
                  <a:cubicBezTo>
                    <a:pt x="1543" y="238"/>
                    <a:pt x="1560" y="228"/>
                    <a:pt x="1577" y="219"/>
                  </a:cubicBezTo>
                  <a:cubicBezTo>
                    <a:pt x="1544" y="175"/>
                    <a:pt x="1550" y="223"/>
                    <a:pt x="1526" y="247"/>
                  </a:cubicBezTo>
                  <a:close/>
                </a:path>
              </a:pathLst>
            </a:custGeom>
            <a:solidFill>
              <a:schemeClr val="accent6"/>
            </a:solidFill>
            <a:ln w="6350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 dirty="0">
                <a:solidFill>
                  <a:schemeClr val="bg1"/>
                </a:solidFill>
              </a:endParaRPr>
            </a:p>
          </p:txBody>
        </p:sp>
        <p:sp>
          <p:nvSpPr>
            <p:cNvPr id="27" name="Niedersachsen"/>
            <p:cNvSpPr>
              <a:spLocks noEditPoints="1"/>
            </p:cNvSpPr>
            <p:nvPr/>
          </p:nvSpPr>
          <p:spPr bwMode="gray">
            <a:xfrm>
              <a:off x="3890889" y="1106723"/>
              <a:ext cx="2368548" cy="2035466"/>
            </a:xfrm>
            <a:custGeom>
              <a:avLst/>
              <a:gdLst>
                <a:gd name="T0" fmla="*/ 2895 w 3091"/>
                <a:gd name="T1" fmla="*/ 857 h 2655"/>
                <a:gd name="T2" fmla="*/ 2837 w 3091"/>
                <a:gd name="T3" fmla="*/ 790 h 2655"/>
                <a:gd name="T4" fmla="*/ 2685 w 3091"/>
                <a:gd name="T5" fmla="*/ 603 h 2655"/>
                <a:gd name="T6" fmla="*/ 2520 w 3091"/>
                <a:gd name="T7" fmla="*/ 573 h 2655"/>
                <a:gd name="T8" fmla="*/ 2344 w 3091"/>
                <a:gd name="T9" fmla="*/ 493 h 2655"/>
                <a:gd name="T10" fmla="*/ 2183 w 3091"/>
                <a:gd name="T11" fmla="*/ 482 h 2655"/>
                <a:gd name="T12" fmla="*/ 2020 w 3091"/>
                <a:gd name="T13" fmla="*/ 471 h 2655"/>
                <a:gd name="T14" fmla="*/ 1445 w 3091"/>
                <a:gd name="T15" fmla="*/ 112 h 2655"/>
                <a:gd name="T16" fmla="*/ 1226 w 3091"/>
                <a:gd name="T17" fmla="*/ 523 h 2655"/>
                <a:gd name="T18" fmla="*/ 1079 w 3091"/>
                <a:gd name="T19" fmla="*/ 346 h 2655"/>
                <a:gd name="T20" fmla="*/ 1010 w 3091"/>
                <a:gd name="T21" fmla="*/ 472 h 2655"/>
                <a:gd name="T22" fmla="*/ 647 w 3091"/>
                <a:gd name="T23" fmla="*/ 240 h 2655"/>
                <a:gd name="T24" fmla="*/ 387 w 3091"/>
                <a:gd name="T25" fmla="*/ 394 h 2655"/>
                <a:gd name="T26" fmla="*/ 445 w 3091"/>
                <a:gd name="T27" fmla="*/ 700 h 2655"/>
                <a:gd name="T28" fmla="*/ 277 w 3091"/>
                <a:gd name="T29" fmla="*/ 1261 h 2655"/>
                <a:gd name="T30" fmla="*/ 288 w 3091"/>
                <a:gd name="T31" fmla="*/ 1632 h 2655"/>
                <a:gd name="T32" fmla="*/ 641 w 3091"/>
                <a:gd name="T33" fmla="*/ 1525 h 2655"/>
                <a:gd name="T34" fmla="*/ 673 w 3091"/>
                <a:gd name="T35" fmla="*/ 1421 h 2655"/>
                <a:gd name="T36" fmla="*/ 860 w 3091"/>
                <a:gd name="T37" fmla="*/ 1525 h 2655"/>
                <a:gd name="T38" fmla="*/ 916 w 3091"/>
                <a:gd name="T39" fmla="*/ 1741 h 2655"/>
                <a:gd name="T40" fmla="*/ 865 w 3091"/>
                <a:gd name="T41" fmla="*/ 1880 h 2655"/>
                <a:gd name="T42" fmla="*/ 1188 w 3091"/>
                <a:gd name="T43" fmla="*/ 1696 h 2655"/>
                <a:gd name="T44" fmla="*/ 1098 w 3091"/>
                <a:gd name="T45" fmla="*/ 1455 h 2655"/>
                <a:gd name="T46" fmla="*/ 1330 w 3091"/>
                <a:gd name="T47" fmla="*/ 1391 h 2655"/>
                <a:gd name="T48" fmla="*/ 1546 w 3091"/>
                <a:gd name="T49" fmla="*/ 1437 h 2655"/>
                <a:gd name="T50" fmla="*/ 1511 w 3091"/>
                <a:gd name="T51" fmla="*/ 1602 h 2655"/>
                <a:gd name="T52" fmla="*/ 1514 w 3091"/>
                <a:gd name="T53" fmla="*/ 1784 h 2655"/>
                <a:gd name="T54" fmla="*/ 1677 w 3091"/>
                <a:gd name="T55" fmla="*/ 1947 h 2655"/>
                <a:gd name="T56" fmla="*/ 1760 w 3091"/>
                <a:gd name="T57" fmla="*/ 2163 h 2655"/>
                <a:gd name="T58" fmla="*/ 1803 w 3091"/>
                <a:gd name="T59" fmla="*/ 2280 h 2655"/>
                <a:gd name="T60" fmla="*/ 1869 w 3091"/>
                <a:gd name="T61" fmla="*/ 2392 h 2655"/>
                <a:gd name="T62" fmla="*/ 1841 w 3091"/>
                <a:gd name="T63" fmla="*/ 2592 h 2655"/>
                <a:gd name="T64" fmla="*/ 2003 w 3091"/>
                <a:gd name="T65" fmla="*/ 2527 h 2655"/>
                <a:gd name="T66" fmla="*/ 2283 w 3091"/>
                <a:gd name="T67" fmla="*/ 2471 h 2655"/>
                <a:gd name="T68" fmla="*/ 2531 w 3091"/>
                <a:gd name="T69" fmla="*/ 2324 h 2655"/>
                <a:gd name="T70" fmla="*/ 2490 w 3091"/>
                <a:gd name="T71" fmla="*/ 2102 h 2655"/>
                <a:gd name="T72" fmla="*/ 2562 w 3091"/>
                <a:gd name="T73" fmla="*/ 1886 h 2655"/>
                <a:gd name="T74" fmla="*/ 2794 w 3091"/>
                <a:gd name="T75" fmla="*/ 1701 h 2655"/>
                <a:gd name="T76" fmla="*/ 2747 w 3091"/>
                <a:gd name="T77" fmla="*/ 1443 h 2655"/>
                <a:gd name="T78" fmla="*/ 2590 w 3091"/>
                <a:gd name="T79" fmla="*/ 1092 h 2655"/>
                <a:gd name="T80" fmla="*/ 2813 w 3091"/>
                <a:gd name="T81" fmla="*/ 1026 h 2655"/>
                <a:gd name="T82" fmla="*/ 3045 w 3091"/>
                <a:gd name="T83" fmla="*/ 944 h 2655"/>
                <a:gd name="T84" fmla="*/ 1521 w 3091"/>
                <a:gd name="T85" fmla="*/ 877 h 2655"/>
                <a:gd name="T86" fmla="*/ 1353 w 3091"/>
                <a:gd name="T87" fmla="*/ 877 h 2655"/>
                <a:gd name="T88" fmla="*/ 1251 w 3091"/>
                <a:gd name="T89" fmla="*/ 734 h 2655"/>
                <a:gd name="T90" fmla="*/ 1312 w 3091"/>
                <a:gd name="T91" fmla="*/ 724 h 2655"/>
                <a:gd name="T92" fmla="*/ 1425 w 3091"/>
                <a:gd name="T93" fmla="*/ 761 h 2655"/>
                <a:gd name="T94" fmla="*/ 1509 w 3091"/>
                <a:gd name="T95" fmla="*/ 824 h 2655"/>
                <a:gd name="T96" fmla="*/ 944 w 3091"/>
                <a:gd name="T97" fmla="*/ 133 h 2655"/>
                <a:gd name="T98" fmla="*/ 793 w 3091"/>
                <a:gd name="T99" fmla="*/ 120 h 2655"/>
                <a:gd name="T100" fmla="*/ 1176 w 3091"/>
                <a:gd name="T101" fmla="*/ 105 h 2655"/>
                <a:gd name="T102" fmla="*/ 1028 w 3091"/>
                <a:gd name="T103" fmla="*/ 200 h 2655"/>
                <a:gd name="T104" fmla="*/ 972 w 3091"/>
                <a:gd name="T105" fmla="*/ 169 h 2655"/>
                <a:gd name="T106" fmla="*/ 968 w 3091"/>
                <a:gd name="T107" fmla="*/ 147 h 2655"/>
                <a:gd name="T108" fmla="*/ 644 w 3091"/>
                <a:gd name="T109" fmla="*/ 183 h 2655"/>
                <a:gd name="T110" fmla="*/ 644 w 3091"/>
                <a:gd name="T111" fmla="*/ 183 h 2655"/>
                <a:gd name="T112" fmla="*/ 290 w 3091"/>
                <a:gd name="T113" fmla="*/ 244 h 2655"/>
                <a:gd name="T114" fmla="*/ 291 w 3091"/>
                <a:gd name="T115" fmla="*/ 216 h 2655"/>
                <a:gd name="T116" fmla="*/ 520 w 3091"/>
                <a:gd name="T117" fmla="*/ 191 h 2655"/>
                <a:gd name="T118" fmla="*/ 600 w 3091"/>
                <a:gd name="T119" fmla="*/ 164 h 2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091" h="2655">
                  <a:moveTo>
                    <a:pt x="3051" y="873"/>
                  </a:moveTo>
                  <a:cubicBezTo>
                    <a:pt x="2937" y="881"/>
                    <a:pt x="2937" y="881"/>
                    <a:pt x="2937" y="881"/>
                  </a:cubicBezTo>
                  <a:cubicBezTo>
                    <a:pt x="2895" y="857"/>
                    <a:pt x="2895" y="857"/>
                    <a:pt x="2895" y="857"/>
                  </a:cubicBezTo>
                  <a:cubicBezTo>
                    <a:pt x="2903" y="826"/>
                    <a:pt x="2903" y="826"/>
                    <a:pt x="2903" y="826"/>
                  </a:cubicBezTo>
                  <a:cubicBezTo>
                    <a:pt x="2876" y="794"/>
                    <a:pt x="2876" y="794"/>
                    <a:pt x="2876" y="794"/>
                  </a:cubicBezTo>
                  <a:cubicBezTo>
                    <a:pt x="2837" y="790"/>
                    <a:pt x="2837" y="790"/>
                    <a:pt x="2837" y="790"/>
                  </a:cubicBezTo>
                  <a:cubicBezTo>
                    <a:pt x="2735" y="657"/>
                    <a:pt x="2735" y="657"/>
                    <a:pt x="2735" y="657"/>
                  </a:cubicBezTo>
                  <a:cubicBezTo>
                    <a:pt x="2725" y="607"/>
                    <a:pt x="2725" y="607"/>
                    <a:pt x="2725" y="607"/>
                  </a:cubicBezTo>
                  <a:cubicBezTo>
                    <a:pt x="2685" y="603"/>
                    <a:pt x="2685" y="603"/>
                    <a:pt x="2685" y="603"/>
                  </a:cubicBezTo>
                  <a:cubicBezTo>
                    <a:pt x="2685" y="603"/>
                    <a:pt x="2637" y="647"/>
                    <a:pt x="2538" y="587"/>
                  </a:cubicBezTo>
                  <a:cubicBezTo>
                    <a:pt x="2530" y="582"/>
                    <a:pt x="2524" y="577"/>
                    <a:pt x="2520" y="573"/>
                  </a:cubicBezTo>
                  <a:cubicBezTo>
                    <a:pt x="2520" y="573"/>
                    <a:pt x="2520" y="573"/>
                    <a:pt x="2520" y="573"/>
                  </a:cubicBezTo>
                  <a:cubicBezTo>
                    <a:pt x="2496" y="578"/>
                    <a:pt x="2463" y="579"/>
                    <a:pt x="2428" y="559"/>
                  </a:cubicBezTo>
                  <a:cubicBezTo>
                    <a:pt x="2394" y="539"/>
                    <a:pt x="2374" y="499"/>
                    <a:pt x="2374" y="499"/>
                  </a:cubicBezTo>
                  <a:cubicBezTo>
                    <a:pt x="2344" y="493"/>
                    <a:pt x="2344" y="493"/>
                    <a:pt x="2344" y="493"/>
                  </a:cubicBezTo>
                  <a:cubicBezTo>
                    <a:pt x="2343" y="510"/>
                    <a:pt x="2343" y="510"/>
                    <a:pt x="2343" y="510"/>
                  </a:cubicBezTo>
                  <a:cubicBezTo>
                    <a:pt x="2252" y="547"/>
                    <a:pt x="2252" y="547"/>
                    <a:pt x="2252" y="547"/>
                  </a:cubicBezTo>
                  <a:cubicBezTo>
                    <a:pt x="2252" y="547"/>
                    <a:pt x="2218" y="487"/>
                    <a:pt x="2183" y="482"/>
                  </a:cubicBezTo>
                  <a:cubicBezTo>
                    <a:pt x="2148" y="476"/>
                    <a:pt x="2152" y="519"/>
                    <a:pt x="2152" y="519"/>
                  </a:cubicBezTo>
                  <a:cubicBezTo>
                    <a:pt x="2086" y="527"/>
                    <a:pt x="2086" y="527"/>
                    <a:pt x="2086" y="527"/>
                  </a:cubicBezTo>
                  <a:cubicBezTo>
                    <a:pt x="2020" y="471"/>
                    <a:pt x="2020" y="471"/>
                    <a:pt x="2020" y="471"/>
                  </a:cubicBezTo>
                  <a:cubicBezTo>
                    <a:pt x="1927" y="390"/>
                    <a:pt x="1927" y="390"/>
                    <a:pt x="1927" y="390"/>
                  </a:cubicBezTo>
                  <a:cubicBezTo>
                    <a:pt x="1834" y="359"/>
                    <a:pt x="1778" y="247"/>
                    <a:pt x="1748" y="158"/>
                  </a:cubicBezTo>
                  <a:cubicBezTo>
                    <a:pt x="1694" y="0"/>
                    <a:pt x="1536" y="157"/>
                    <a:pt x="1445" y="112"/>
                  </a:cubicBezTo>
                  <a:cubicBezTo>
                    <a:pt x="1295" y="37"/>
                    <a:pt x="1321" y="32"/>
                    <a:pt x="1240" y="183"/>
                  </a:cubicBezTo>
                  <a:cubicBezTo>
                    <a:pt x="1194" y="269"/>
                    <a:pt x="1306" y="348"/>
                    <a:pt x="1275" y="407"/>
                  </a:cubicBezTo>
                  <a:cubicBezTo>
                    <a:pt x="1271" y="415"/>
                    <a:pt x="1217" y="525"/>
                    <a:pt x="1226" y="523"/>
                  </a:cubicBezTo>
                  <a:cubicBezTo>
                    <a:pt x="1196" y="531"/>
                    <a:pt x="1222" y="432"/>
                    <a:pt x="1222" y="433"/>
                  </a:cubicBezTo>
                  <a:cubicBezTo>
                    <a:pt x="1248" y="365"/>
                    <a:pt x="1229" y="380"/>
                    <a:pt x="1171" y="364"/>
                  </a:cubicBezTo>
                  <a:cubicBezTo>
                    <a:pt x="1135" y="355"/>
                    <a:pt x="1119" y="260"/>
                    <a:pt x="1079" y="346"/>
                  </a:cubicBezTo>
                  <a:cubicBezTo>
                    <a:pt x="1046" y="418"/>
                    <a:pt x="1078" y="404"/>
                    <a:pt x="1116" y="404"/>
                  </a:cubicBezTo>
                  <a:cubicBezTo>
                    <a:pt x="1133" y="404"/>
                    <a:pt x="1099" y="499"/>
                    <a:pt x="1097" y="502"/>
                  </a:cubicBezTo>
                  <a:cubicBezTo>
                    <a:pt x="1065" y="566"/>
                    <a:pt x="1035" y="486"/>
                    <a:pt x="1010" y="472"/>
                  </a:cubicBezTo>
                  <a:cubicBezTo>
                    <a:pt x="992" y="462"/>
                    <a:pt x="922" y="449"/>
                    <a:pt x="995" y="412"/>
                  </a:cubicBezTo>
                  <a:cubicBezTo>
                    <a:pt x="1084" y="368"/>
                    <a:pt x="941" y="205"/>
                    <a:pt x="884" y="199"/>
                  </a:cubicBezTo>
                  <a:cubicBezTo>
                    <a:pt x="810" y="192"/>
                    <a:pt x="722" y="240"/>
                    <a:pt x="647" y="240"/>
                  </a:cubicBezTo>
                  <a:cubicBezTo>
                    <a:pt x="607" y="240"/>
                    <a:pt x="565" y="217"/>
                    <a:pt x="523" y="217"/>
                  </a:cubicBezTo>
                  <a:cubicBezTo>
                    <a:pt x="458" y="217"/>
                    <a:pt x="367" y="312"/>
                    <a:pt x="406" y="371"/>
                  </a:cubicBezTo>
                  <a:cubicBezTo>
                    <a:pt x="384" y="374"/>
                    <a:pt x="394" y="377"/>
                    <a:pt x="387" y="394"/>
                  </a:cubicBezTo>
                  <a:cubicBezTo>
                    <a:pt x="359" y="368"/>
                    <a:pt x="366" y="387"/>
                    <a:pt x="337" y="374"/>
                  </a:cubicBezTo>
                  <a:cubicBezTo>
                    <a:pt x="349" y="431"/>
                    <a:pt x="339" y="499"/>
                    <a:pt x="321" y="558"/>
                  </a:cubicBezTo>
                  <a:cubicBezTo>
                    <a:pt x="487" y="572"/>
                    <a:pt x="427" y="593"/>
                    <a:pt x="445" y="700"/>
                  </a:cubicBezTo>
                  <a:cubicBezTo>
                    <a:pt x="451" y="739"/>
                    <a:pt x="421" y="818"/>
                    <a:pt x="426" y="871"/>
                  </a:cubicBezTo>
                  <a:cubicBezTo>
                    <a:pt x="431" y="939"/>
                    <a:pt x="386" y="994"/>
                    <a:pt x="348" y="1047"/>
                  </a:cubicBezTo>
                  <a:cubicBezTo>
                    <a:pt x="297" y="1117"/>
                    <a:pt x="353" y="1225"/>
                    <a:pt x="277" y="1261"/>
                  </a:cubicBezTo>
                  <a:cubicBezTo>
                    <a:pt x="235" y="1280"/>
                    <a:pt x="46" y="1177"/>
                    <a:pt x="130" y="1316"/>
                  </a:cubicBezTo>
                  <a:cubicBezTo>
                    <a:pt x="0" y="1366"/>
                    <a:pt x="202" y="1514"/>
                    <a:pt x="263" y="1427"/>
                  </a:cubicBezTo>
                  <a:cubicBezTo>
                    <a:pt x="323" y="1494"/>
                    <a:pt x="263" y="1576"/>
                    <a:pt x="288" y="1632"/>
                  </a:cubicBezTo>
                  <a:cubicBezTo>
                    <a:pt x="382" y="1613"/>
                    <a:pt x="382" y="1613"/>
                    <a:pt x="382" y="1613"/>
                  </a:cubicBezTo>
                  <a:cubicBezTo>
                    <a:pt x="470" y="1629"/>
                    <a:pt x="470" y="1629"/>
                    <a:pt x="470" y="1629"/>
                  </a:cubicBezTo>
                  <a:cubicBezTo>
                    <a:pt x="641" y="1525"/>
                    <a:pt x="641" y="1525"/>
                    <a:pt x="641" y="1525"/>
                  </a:cubicBezTo>
                  <a:cubicBezTo>
                    <a:pt x="665" y="1469"/>
                    <a:pt x="665" y="1469"/>
                    <a:pt x="665" y="1469"/>
                  </a:cubicBezTo>
                  <a:cubicBezTo>
                    <a:pt x="639" y="1447"/>
                    <a:pt x="639" y="1447"/>
                    <a:pt x="639" y="1447"/>
                  </a:cubicBezTo>
                  <a:cubicBezTo>
                    <a:pt x="673" y="1421"/>
                    <a:pt x="673" y="1421"/>
                    <a:pt x="673" y="1421"/>
                  </a:cubicBezTo>
                  <a:cubicBezTo>
                    <a:pt x="727" y="1450"/>
                    <a:pt x="727" y="1450"/>
                    <a:pt x="727" y="1450"/>
                  </a:cubicBezTo>
                  <a:cubicBezTo>
                    <a:pt x="785" y="1542"/>
                    <a:pt x="785" y="1542"/>
                    <a:pt x="785" y="1542"/>
                  </a:cubicBezTo>
                  <a:cubicBezTo>
                    <a:pt x="860" y="1525"/>
                    <a:pt x="860" y="1525"/>
                    <a:pt x="860" y="1525"/>
                  </a:cubicBezTo>
                  <a:cubicBezTo>
                    <a:pt x="889" y="1581"/>
                    <a:pt x="889" y="1581"/>
                    <a:pt x="889" y="1581"/>
                  </a:cubicBezTo>
                  <a:cubicBezTo>
                    <a:pt x="820" y="1706"/>
                    <a:pt x="820" y="1706"/>
                    <a:pt x="820" y="1706"/>
                  </a:cubicBezTo>
                  <a:cubicBezTo>
                    <a:pt x="916" y="1741"/>
                    <a:pt x="916" y="1741"/>
                    <a:pt x="916" y="1741"/>
                  </a:cubicBezTo>
                  <a:cubicBezTo>
                    <a:pt x="905" y="1786"/>
                    <a:pt x="905" y="1786"/>
                    <a:pt x="905" y="1786"/>
                  </a:cubicBezTo>
                  <a:cubicBezTo>
                    <a:pt x="831" y="1818"/>
                    <a:pt x="831" y="1818"/>
                    <a:pt x="831" y="1818"/>
                  </a:cubicBezTo>
                  <a:cubicBezTo>
                    <a:pt x="865" y="1880"/>
                    <a:pt x="865" y="1880"/>
                    <a:pt x="865" y="1880"/>
                  </a:cubicBezTo>
                  <a:cubicBezTo>
                    <a:pt x="1084" y="1784"/>
                    <a:pt x="1084" y="1784"/>
                    <a:pt x="1084" y="1784"/>
                  </a:cubicBezTo>
                  <a:cubicBezTo>
                    <a:pt x="1154" y="1797"/>
                    <a:pt x="1154" y="1797"/>
                    <a:pt x="1154" y="1797"/>
                  </a:cubicBezTo>
                  <a:cubicBezTo>
                    <a:pt x="1154" y="1797"/>
                    <a:pt x="1180" y="1789"/>
                    <a:pt x="1188" y="1696"/>
                  </a:cubicBezTo>
                  <a:cubicBezTo>
                    <a:pt x="1196" y="1602"/>
                    <a:pt x="1183" y="1551"/>
                    <a:pt x="1183" y="1551"/>
                  </a:cubicBezTo>
                  <a:cubicBezTo>
                    <a:pt x="1111" y="1503"/>
                    <a:pt x="1111" y="1503"/>
                    <a:pt x="1111" y="1503"/>
                  </a:cubicBezTo>
                  <a:cubicBezTo>
                    <a:pt x="1098" y="1455"/>
                    <a:pt x="1098" y="1455"/>
                    <a:pt x="1098" y="1455"/>
                  </a:cubicBezTo>
                  <a:cubicBezTo>
                    <a:pt x="1180" y="1450"/>
                    <a:pt x="1180" y="1450"/>
                    <a:pt x="1180" y="1450"/>
                  </a:cubicBezTo>
                  <a:cubicBezTo>
                    <a:pt x="1204" y="1410"/>
                    <a:pt x="1204" y="1410"/>
                    <a:pt x="1204" y="1410"/>
                  </a:cubicBezTo>
                  <a:cubicBezTo>
                    <a:pt x="1330" y="1391"/>
                    <a:pt x="1330" y="1391"/>
                    <a:pt x="1330" y="1391"/>
                  </a:cubicBezTo>
                  <a:cubicBezTo>
                    <a:pt x="1341" y="1517"/>
                    <a:pt x="1341" y="1517"/>
                    <a:pt x="1341" y="1517"/>
                  </a:cubicBezTo>
                  <a:cubicBezTo>
                    <a:pt x="1485" y="1522"/>
                    <a:pt x="1485" y="1522"/>
                    <a:pt x="1485" y="1522"/>
                  </a:cubicBezTo>
                  <a:cubicBezTo>
                    <a:pt x="1546" y="1437"/>
                    <a:pt x="1546" y="1437"/>
                    <a:pt x="1546" y="1437"/>
                  </a:cubicBezTo>
                  <a:cubicBezTo>
                    <a:pt x="1613" y="1437"/>
                    <a:pt x="1613" y="1437"/>
                    <a:pt x="1613" y="1437"/>
                  </a:cubicBezTo>
                  <a:cubicBezTo>
                    <a:pt x="1567" y="1578"/>
                    <a:pt x="1567" y="1578"/>
                    <a:pt x="1567" y="1578"/>
                  </a:cubicBezTo>
                  <a:cubicBezTo>
                    <a:pt x="1511" y="1602"/>
                    <a:pt x="1511" y="1602"/>
                    <a:pt x="1511" y="1602"/>
                  </a:cubicBezTo>
                  <a:cubicBezTo>
                    <a:pt x="1511" y="1672"/>
                    <a:pt x="1511" y="1672"/>
                    <a:pt x="1511" y="1672"/>
                  </a:cubicBezTo>
                  <a:cubicBezTo>
                    <a:pt x="1546" y="1690"/>
                    <a:pt x="1546" y="1690"/>
                    <a:pt x="1546" y="1690"/>
                  </a:cubicBezTo>
                  <a:cubicBezTo>
                    <a:pt x="1514" y="1784"/>
                    <a:pt x="1514" y="1784"/>
                    <a:pt x="1514" y="1784"/>
                  </a:cubicBezTo>
                  <a:cubicBezTo>
                    <a:pt x="1599" y="1794"/>
                    <a:pt x="1599" y="1794"/>
                    <a:pt x="1599" y="1794"/>
                  </a:cubicBezTo>
                  <a:cubicBezTo>
                    <a:pt x="1615" y="1960"/>
                    <a:pt x="1615" y="1960"/>
                    <a:pt x="1615" y="1960"/>
                  </a:cubicBezTo>
                  <a:cubicBezTo>
                    <a:pt x="1677" y="1947"/>
                    <a:pt x="1677" y="1947"/>
                    <a:pt x="1677" y="1947"/>
                  </a:cubicBezTo>
                  <a:cubicBezTo>
                    <a:pt x="1709" y="2067"/>
                    <a:pt x="1709" y="2067"/>
                    <a:pt x="1709" y="2067"/>
                  </a:cubicBezTo>
                  <a:cubicBezTo>
                    <a:pt x="1786" y="2072"/>
                    <a:pt x="1786" y="2072"/>
                    <a:pt x="1786" y="2072"/>
                  </a:cubicBezTo>
                  <a:cubicBezTo>
                    <a:pt x="1786" y="2072"/>
                    <a:pt x="1781" y="2131"/>
                    <a:pt x="1760" y="2163"/>
                  </a:cubicBezTo>
                  <a:cubicBezTo>
                    <a:pt x="1738" y="2195"/>
                    <a:pt x="1725" y="2280"/>
                    <a:pt x="1725" y="2280"/>
                  </a:cubicBezTo>
                  <a:cubicBezTo>
                    <a:pt x="1769" y="2295"/>
                    <a:pt x="1769" y="2295"/>
                    <a:pt x="1769" y="2295"/>
                  </a:cubicBezTo>
                  <a:cubicBezTo>
                    <a:pt x="1803" y="2280"/>
                    <a:pt x="1803" y="2280"/>
                    <a:pt x="1803" y="2280"/>
                  </a:cubicBezTo>
                  <a:cubicBezTo>
                    <a:pt x="1891" y="2299"/>
                    <a:pt x="1891" y="2299"/>
                    <a:pt x="1891" y="2299"/>
                  </a:cubicBezTo>
                  <a:cubicBezTo>
                    <a:pt x="1926" y="2359"/>
                    <a:pt x="1926" y="2359"/>
                    <a:pt x="1926" y="2359"/>
                  </a:cubicBezTo>
                  <a:cubicBezTo>
                    <a:pt x="1926" y="2359"/>
                    <a:pt x="1869" y="2368"/>
                    <a:pt x="1869" y="2392"/>
                  </a:cubicBezTo>
                  <a:cubicBezTo>
                    <a:pt x="1869" y="2417"/>
                    <a:pt x="1907" y="2483"/>
                    <a:pt x="1907" y="2483"/>
                  </a:cubicBezTo>
                  <a:cubicBezTo>
                    <a:pt x="1891" y="2527"/>
                    <a:pt x="1891" y="2527"/>
                    <a:pt x="1891" y="2527"/>
                  </a:cubicBezTo>
                  <a:cubicBezTo>
                    <a:pt x="1891" y="2527"/>
                    <a:pt x="1822" y="2560"/>
                    <a:pt x="1841" y="2592"/>
                  </a:cubicBezTo>
                  <a:cubicBezTo>
                    <a:pt x="1861" y="2625"/>
                    <a:pt x="1913" y="2655"/>
                    <a:pt x="1946" y="2642"/>
                  </a:cubicBezTo>
                  <a:cubicBezTo>
                    <a:pt x="1978" y="2628"/>
                    <a:pt x="1948" y="2584"/>
                    <a:pt x="1948" y="2584"/>
                  </a:cubicBezTo>
                  <a:cubicBezTo>
                    <a:pt x="2003" y="2527"/>
                    <a:pt x="2003" y="2527"/>
                    <a:pt x="2003" y="2527"/>
                  </a:cubicBezTo>
                  <a:cubicBezTo>
                    <a:pt x="2069" y="2524"/>
                    <a:pt x="2069" y="2524"/>
                    <a:pt x="2069" y="2524"/>
                  </a:cubicBezTo>
                  <a:cubicBezTo>
                    <a:pt x="2080" y="2561"/>
                    <a:pt x="2080" y="2561"/>
                    <a:pt x="2080" y="2561"/>
                  </a:cubicBezTo>
                  <a:cubicBezTo>
                    <a:pt x="2283" y="2471"/>
                    <a:pt x="2283" y="2471"/>
                    <a:pt x="2283" y="2471"/>
                  </a:cubicBezTo>
                  <a:cubicBezTo>
                    <a:pt x="2390" y="2343"/>
                    <a:pt x="2390" y="2343"/>
                    <a:pt x="2390" y="2343"/>
                  </a:cubicBezTo>
                  <a:cubicBezTo>
                    <a:pt x="2527" y="2395"/>
                    <a:pt x="2527" y="2395"/>
                    <a:pt x="2527" y="2395"/>
                  </a:cubicBezTo>
                  <a:cubicBezTo>
                    <a:pt x="2531" y="2324"/>
                    <a:pt x="2531" y="2324"/>
                    <a:pt x="2531" y="2324"/>
                  </a:cubicBezTo>
                  <a:cubicBezTo>
                    <a:pt x="2550" y="2309"/>
                    <a:pt x="2550" y="2309"/>
                    <a:pt x="2550" y="2309"/>
                  </a:cubicBezTo>
                  <a:cubicBezTo>
                    <a:pt x="2483" y="2181"/>
                    <a:pt x="2483" y="2181"/>
                    <a:pt x="2483" y="2181"/>
                  </a:cubicBezTo>
                  <a:cubicBezTo>
                    <a:pt x="2490" y="2102"/>
                    <a:pt x="2490" y="2102"/>
                    <a:pt x="2490" y="2102"/>
                  </a:cubicBezTo>
                  <a:cubicBezTo>
                    <a:pt x="2490" y="2102"/>
                    <a:pt x="2534" y="2096"/>
                    <a:pt x="2518" y="2043"/>
                  </a:cubicBezTo>
                  <a:cubicBezTo>
                    <a:pt x="2502" y="1989"/>
                    <a:pt x="2483" y="1930"/>
                    <a:pt x="2483" y="1930"/>
                  </a:cubicBezTo>
                  <a:cubicBezTo>
                    <a:pt x="2562" y="1886"/>
                    <a:pt x="2562" y="1886"/>
                    <a:pt x="2562" y="1886"/>
                  </a:cubicBezTo>
                  <a:cubicBezTo>
                    <a:pt x="2728" y="1883"/>
                    <a:pt x="2728" y="1883"/>
                    <a:pt x="2728" y="1883"/>
                  </a:cubicBezTo>
                  <a:cubicBezTo>
                    <a:pt x="2728" y="1883"/>
                    <a:pt x="2703" y="1845"/>
                    <a:pt x="2753" y="1795"/>
                  </a:cubicBezTo>
                  <a:cubicBezTo>
                    <a:pt x="2804" y="1744"/>
                    <a:pt x="2819" y="1741"/>
                    <a:pt x="2794" y="1701"/>
                  </a:cubicBezTo>
                  <a:cubicBezTo>
                    <a:pt x="2769" y="1660"/>
                    <a:pt x="2713" y="1628"/>
                    <a:pt x="2741" y="1603"/>
                  </a:cubicBezTo>
                  <a:cubicBezTo>
                    <a:pt x="2769" y="1578"/>
                    <a:pt x="2775" y="1559"/>
                    <a:pt x="2734" y="1528"/>
                  </a:cubicBezTo>
                  <a:cubicBezTo>
                    <a:pt x="2694" y="1496"/>
                    <a:pt x="2747" y="1443"/>
                    <a:pt x="2747" y="1443"/>
                  </a:cubicBezTo>
                  <a:cubicBezTo>
                    <a:pt x="2659" y="1248"/>
                    <a:pt x="2659" y="1248"/>
                    <a:pt x="2659" y="1248"/>
                  </a:cubicBezTo>
                  <a:cubicBezTo>
                    <a:pt x="2615" y="1223"/>
                    <a:pt x="2615" y="1223"/>
                    <a:pt x="2615" y="1223"/>
                  </a:cubicBezTo>
                  <a:cubicBezTo>
                    <a:pt x="2590" y="1092"/>
                    <a:pt x="2590" y="1092"/>
                    <a:pt x="2590" y="1092"/>
                  </a:cubicBezTo>
                  <a:cubicBezTo>
                    <a:pt x="2691" y="1095"/>
                    <a:pt x="2691" y="1095"/>
                    <a:pt x="2691" y="1095"/>
                  </a:cubicBezTo>
                  <a:cubicBezTo>
                    <a:pt x="2734" y="1029"/>
                    <a:pt x="2734" y="1029"/>
                    <a:pt x="2734" y="1029"/>
                  </a:cubicBezTo>
                  <a:cubicBezTo>
                    <a:pt x="2813" y="1026"/>
                    <a:pt x="2813" y="1026"/>
                    <a:pt x="2813" y="1026"/>
                  </a:cubicBezTo>
                  <a:cubicBezTo>
                    <a:pt x="2942" y="1070"/>
                    <a:pt x="2942" y="1070"/>
                    <a:pt x="2942" y="1070"/>
                  </a:cubicBezTo>
                  <a:cubicBezTo>
                    <a:pt x="3030" y="1004"/>
                    <a:pt x="3030" y="1004"/>
                    <a:pt x="3030" y="1004"/>
                  </a:cubicBezTo>
                  <a:cubicBezTo>
                    <a:pt x="3045" y="944"/>
                    <a:pt x="3045" y="944"/>
                    <a:pt x="3045" y="944"/>
                  </a:cubicBezTo>
                  <a:cubicBezTo>
                    <a:pt x="3091" y="911"/>
                    <a:pt x="3091" y="911"/>
                    <a:pt x="3091" y="911"/>
                  </a:cubicBezTo>
                  <a:lnTo>
                    <a:pt x="3051" y="873"/>
                  </a:lnTo>
                  <a:close/>
                  <a:moveTo>
                    <a:pt x="1521" y="877"/>
                  </a:moveTo>
                  <a:cubicBezTo>
                    <a:pt x="1484" y="912"/>
                    <a:pt x="1484" y="912"/>
                    <a:pt x="1484" y="912"/>
                  </a:cubicBezTo>
                  <a:cubicBezTo>
                    <a:pt x="1394" y="877"/>
                    <a:pt x="1394" y="877"/>
                    <a:pt x="1394" y="877"/>
                  </a:cubicBezTo>
                  <a:cubicBezTo>
                    <a:pt x="1353" y="877"/>
                    <a:pt x="1353" y="877"/>
                    <a:pt x="1353" y="877"/>
                  </a:cubicBezTo>
                  <a:cubicBezTo>
                    <a:pt x="1341" y="836"/>
                    <a:pt x="1341" y="836"/>
                    <a:pt x="1341" y="836"/>
                  </a:cubicBezTo>
                  <a:cubicBezTo>
                    <a:pt x="1280" y="740"/>
                    <a:pt x="1280" y="740"/>
                    <a:pt x="1280" y="740"/>
                  </a:cubicBezTo>
                  <a:cubicBezTo>
                    <a:pt x="1251" y="734"/>
                    <a:pt x="1251" y="734"/>
                    <a:pt x="1251" y="734"/>
                  </a:cubicBezTo>
                  <a:cubicBezTo>
                    <a:pt x="1232" y="683"/>
                    <a:pt x="1232" y="683"/>
                    <a:pt x="1232" y="683"/>
                  </a:cubicBezTo>
                  <a:cubicBezTo>
                    <a:pt x="1306" y="693"/>
                    <a:pt x="1306" y="693"/>
                    <a:pt x="1306" y="693"/>
                  </a:cubicBezTo>
                  <a:cubicBezTo>
                    <a:pt x="1312" y="724"/>
                    <a:pt x="1312" y="724"/>
                    <a:pt x="1312" y="724"/>
                  </a:cubicBezTo>
                  <a:cubicBezTo>
                    <a:pt x="1362" y="724"/>
                    <a:pt x="1362" y="724"/>
                    <a:pt x="1362" y="724"/>
                  </a:cubicBezTo>
                  <a:cubicBezTo>
                    <a:pt x="1378" y="759"/>
                    <a:pt x="1378" y="759"/>
                    <a:pt x="1378" y="759"/>
                  </a:cubicBezTo>
                  <a:cubicBezTo>
                    <a:pt x="1425" y="761"/>
                    <a:pt x="1425" y="761"/>
                    <a:pt x="1425" y="761"/>
                  </a:cubicBezTo>
                  <a:cubicBezTo>
                    <a:pt x="1452" y="804"/>
                    <a:pt x="1452" y="804"/>
                    <a:pt x="1452" y="804"/>
                  </a:cubicBezTo>
                  <a:cubicBezTo>
                    <a:pt x="1452" y="804"/>
                    <a:pt x="1519" y="748"/>
                    <a:pt x="1527" y="769"/>
                  </a:cubicBezTo>
                  <a:cubicBezTo>
                    <a:pt x="1534" y="791"/>
                    <a:pt x="1509" y="824"/>
                    <a:pt x="1509" y="824"/>
                  </a:cubicBezTo>
                  <a:lnTo>
                    <a:pt x="1521" y="877"/>
                  </a:lnTo>
                  <a:close/>
                  <a:moveTo>
                    <a:pt x="893" y="127"/>
                  </a:moveTo>
                  <a:cubicBezTo>
                    <a:pt x="910" y="142"/>
                    <a:pt x="927" y="144"/>
                    <a:pt x="944" y="133"/>
                  </a:cubicBezTo>
                  <a:cubicBezTo>
                    <a:pt x="969" y="111"/>
                    <a:pt x="817" y="129"/>
                    <a:pt x="893" y="127"/>
                  </a:cubicBezTo>
                  <a:close/>
                  <a:moveTo>
                    <a:pt x="849" y="135"/>
                  </a:moveTo>
                  <a:cubicBezTo>
                    <a:pt x="866" y="127"/>
                    <a:pt x="797" y="121"/>
                    <a:pt x="793" y="120"/>
                  </a:cubicBezTo>
                  <a:cubicBezTo>
                    <a:pt x="785" y="127"/>
                    <a:pt x="735" y="127"/>
                    <a:pt x="759" y="154"/>
                  </a:cubicBezTo>
                  <a:cubicBezTo>
                    <a:pt x="771" y="166"/>
                    <a:pt x="829" y="145"/>
                    <a:pt x="849" y="135"/>
                  </a:cubicBezTo>
                  <a:close/>
                  <a:moveTo>
                    <a:pt x="1176" y="105"/>
                  </a:moveTo>
                  <a:cubicBezTo>
                    <a:pt x="1201" y="96"/>
                    <a:pt x="1173" y="75"/>
                    <a:pt x="1173" y="75"/>
                  </a:cubicBezTo>
                  <a:cubicBezTo>
                    <a:pt x="1142" y="80"/>
                    <a:pt x="1152" y="114"/>
                    <a:pt x="1176" y="105"/>
                  </a:cubicBezTo>
                  <a:close/>
                  <a:moveTo>
                    <a:pt x="1028" y="200"/>
                  </a:moveTo>
                  <a:cubicBezTo>
                    <a:pt x="1055" y="200"/>
                    <a:pt x="1103" y="166"/>
                    <a:pt x="1045" y="175"/>
                  </a:cubicBezTo>
                  <a:cubicBezTo>
                    <a:pt x="1046" y="168"/>
                    <a:pt x="1010" y="200"/>
                    <a:pt x="1028" y="200"/>
                  </a:cubicBezTo>
                  <a:close/>
                  <a:moveTo>
                    <a:pt x="972" y="169"/>
                  </a:moveTo>
                  <a:cubicBezTo>
                    <a:pt x="983" y="169"/>
                    <a:pt x="983" y="155"/>
                    <a:pt x="971" y="155"/>
                  </a:cubicBezTo>
                  <a:cubicBezTo>
                    <a:pt x="971" y="155"/>
                    <a:pt x="962" y="169"/>
                    <a:pt x="972" y="169"/>
                  </a:cubicBezTo>
                  <a:close/>
                  <a:moveTo>
                    <a:pt x="968" y="147"/>
                  </a:moveTo>
                  <a:cubicBezTo>
                    <a:pt x="981" y="145"/>
                    <a:pt x="978" y="135"/>
                    <a:pt x="965" y="135"/>
                  </a:cubicBezTo>
                  <a:cubicBezTo>
                    <a:pt x="965" y="135"/>
                    <a:pt x="955" y="149"/>
                    <a:pt x="968" y="147"/>
                  </a:cubicBezTo>
                  <a:close/>
                  <a:moveTo>
                    <a:pt x="644" y="183"/>
                  </a:moveTo>
                  <a:cubicBezTo>
                    <a:pt x="667" y="183"/>
                    <a:pt x="702" y="161"/>
                    <a:pt x="733" y="160"/>
                  </a:cubicBezTo>
                  <a:cubicBezTo>
                    <a:pt x="724" y="136"/>
                    <a:pt x="702" y="131"/>
                    <a:pt x="669" y="145"/>
                  </a:cubicBezTo>
                  <a:cubicBezTo>
                    <a:pt x="680" y="136"/>
                    <a:pt x="601" y="183"/>
                    <a:pt x="644" y="183"/>
                  </a:cubicBezTo>
                  <a:close/>
                  <a:moveTo>
                    <a:pt x="290" y="244"/>
                  </a:moveTo>
                  <a:cubicBezTo>
                    <a:pt x="279" y="223"/>
                    <a:pt x="263" y="232"/>
                    <a:pt x="277" y="250"/>
                  </a:cubicBezTo>
                  <a:cubicBezTo>
                    <a:pt x="291" y="268"/>
                    <a:pt x="290" y="244"/>
                    <a:pt x="290" y="244"/>
                  </a:cubicBezTo>
                  <a:close/>
                  <a:moveTo>
                    <a:pt x="329" y="218"/>
                  </a:moveTo>
                  <a:cubicBezTo>
                    <a:pt x="360" y="220"/>
                    <a:pt x="390" y="218"/>
                    <a:pt x="420" y="210"/>
                  </a:cubicBezTo>
                  <a:cubicBezTo>
                    <a:pt x="396" y="175"/>
                    <a:pt x="319" y="216"/>
                    <a:pt x="291" y="216"/>
                  </a:cubicBezTo>
                  <a:cubicBezTo>
                    <a:pt x="304" y="218"/>
                    <a:pt x="316" y="219"/>
                    <a:pt x="329" y="218"/>
                  </a:cubicBezTo>
                  <a:close/>
                  <a:moveTo>
                    <a:pt x="440" y="198"/>
                  </a:moveTo>
                  <a:cubicBezTo>
                    <a:pt x="458" y="204"/>
                    <a:pt x="495" y="193"/>
                    <a:pt x="520" y="191"/>
                  </a:cubicBezTo>
                  <a:cubicBezTo>
                    <a:pt x="533" y="191"/>
                    <a:pt x="570" y="200"/>
                    <a:pt x="567" y="172"/>
                  </a:cubicBezTo>
                  <a:cubicBezTo>
                    <a:pt x="564" y="128"/>
                    <a:pt x="416" y="190"/>
                    <a:pt x="440" y="198"/>
                  </a:cubicBezTo>
                  <a:close/>
                  <a:moveTo>
                    <a:pt x="600" y="164"/>
                  </a:moveTo>
                  <a:cubicBezTo>
                    <a:pt x="574" y="161"/>
                    <a:pt x="592" y="182"/>
                    <a:pt x="592" y="182"/>
                  </a:cubicBezTo>
                  <a:cubicBezTo>
                    <a:pt x="611" y="182"/>
                    <a:pt x="626" y="167"/>
                    <a:pt x="600" y="164"/>
                  </a:cubicBezTo>
                  <a:close/>
                </a:path>
              </a:pathLst>
            </a:custGeom>
            <a:solidFill>
              <a:schemeClr val="accent6"/>
            </a:solidFill>
            <a:ln w="6350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 dirty="0">
                <a:solidFill>
                  <a:schemeClr val="bg1"/>
                </a:solidFill>
              </a:endParaRPr>
            </a:p>
          </p:txBody>
        </p:sp>
        <p:sp>
          <p:nvSpPr>
            <p:cNvPr id="28" name="BW"/>
            <p:cNvSpPr>
              <a:spLocks noEditPoints="1"/>
            </p:cNvSpPr>
            <p:nvPr/>
          </p:nvSpPr>
          <p:spPr bwMode="gray">
            <a:xfrm>
              <a:off x="4172040" y="4252995"/>
              <a:ext cx="1573638" cy="1774457"/>
            </a:xfrm>
            <a:custGeom>
              <a:avLst/>
              <a:gdLst>
                <a:gd name="T0" fmla="*/ 2006 w 2054"/>
                <a:gd name="T1" fmla="*/ 1062 h 2316"/>
                <a:gd name="T2" fmla="*/ 1874 w 2054"/>
                <a:gd name="T3" fmla="*/ 768 h 2316"/>
                <a:gd name="T4" fmla="*/ 1826 w 2054"/>
                <a:gd name="T5" fmla="*/ 636 h 2316"/>
                <a:gd name="T6" fmla="*/ 1832 w 2054"/>
                <a:gd name="T7" fmla="*/ 420 h 2316"/>
                <a:gd name="T8" fmla="*/ 1736 w 2054"/>
                <a:gd name="T9" fmla="*/ 348 h 2316"/>
                <a:gd name="T10" fmla="*/ 1676 w 2054"/>
                <a:gd name="T11" fmla="*/ 270 h 2316"/>
                <a:gd name="T12" fmla="*/ 1604 w 2054"/>
                <a:gd name="T13" fmla="*/ 126 h 2316"/>
                <a:gd name="T14" fmla="*/ 1514 w 2054"/>
                <a:gd name="T15" fmla="*/ 54 h 2316"/>
                <a:gd name="T16" fmla="*/ 1340 w 2054"/>
                <a:gd name="T17" fmla="*/ 48 h 2316"/>
                <a:gd name="T18" fmla="*/ 1358 w 2054"/>
                <a:gd name="T19" fmla="*/ 192 h 2316"/>
                <a:gd name="T20" fmla="*/ 1244 w 2054"/>
                <a:gd name="T21" fmla="*/ 246 h 2316"/>
                <a:gd name="T22" fmla="*/ 1148 w 2054"/>
                <a:gd name="T23" fmla="*/ 260 h 2316"/>
                <a:gd name="T24" fmla="*/ 1132 w 2054"/>
                <a:gd name="T25" fmla="*/ 277 h 2316"/>
                <a:gd name="T26" fmla="*/ 1073 w 2054"/>
                <a:gd name="T27" fmla="*/ 319 h 2316"/>
                <a:gd name="T28" fmla="*/ 1017 w 2054"/>
                <a:gd name="T29" fmla="*/ 386 h 2316"/>
                <a:gd name="T30" fmla="*/ 948 w 2054"/>
                <a:gd name="T31" fmla="*/ 413 h 2316"/>
                <a:gd name="T32" fmla="*/ 903 w 2054"/>
                <a:gd name="T33" fmla="*/ 303 h 2316"/>
                <a:gd name="T34" fmla="*/ 817 w 2054"/>
                <a:gd name="T35" fmla="*/ 215 h 2316"/>
                <a:gd name="T36" fmla="*/ 791 w 2054"/>
                <a:gd name="T37" fmla="*/ 293 h 2316"/>
                <a:gd name="T38" fmla="*/ 708 w 2054"/>
                <a:gd name="T39" fmla="*/ 242 h 2316"/>
                <a:gd name="T40" fmla="*/ 759 w 2054"/>
                <a:gd name="T41" fmla="*/ 386 h 2316"/>
                <a:gd name="T42" fmla="*/ 695 w 2054"/>
                <a:gd name="T43" fmla="*/ 583 h 2316"/>
                <a:gd name="T44" fmla="*/ 625 w 2054"/>
                <a:gd name="T45" fmla="*/ 746 h 2316"/>
                <a:gd name="T46" fmla="*/ 567 w 2054"/>
                <a:gd name="T47" fmla="*/ 837 h 2316"/>
                <a:gd name="T48" fmla="*/ 543 w 2054"/>
                <a:gd name="T49" fmla="*/ 868 h 2316"/>
                <a:gd name="T50" fmla="*/ 337 w 2054"/>
                <a:gd name="T51" fmla="*/ 1118 h 2316"/>
                <a:gd name="T52" fmla="*/ 187 w 2054"/>
                <a:gd name="T53" fmla="*/ 1445 h 2316"/>
                <a:gd name="T54" fmla="*/ 90 w 2054"/>
                <a:gd name="T55" fmla="*/ 1860 h 2316"/>
                <a:gd name="T56" fmla="*/ 127 w 2054"/>
                <a:gd name="T57" fmla="*/ 2250 h 2316"/>
                <a:gd name="T58" fmla="*/ 370 w 2054"/>
                <a:gd name="T59" fmla="*/ 2289 h 2316"/>
                <a:gd name="T60" fmla="*/ 681 w 2054"/>
                <a:gd name="T61" fmla="*/ 2264 h 2316"/>
                <a:gd name="T62" fmla="*/ 684 w 2054"/>
                <a:gd name="T63" fmla="*/ 2192 h 2316"/>
                <a:gd name="T64" fmla="*/ 730 w 2054"/>
                <a:gd name="T65" fmla="*/ 2064 h 2316"/>
                <a:gd name="T66" fmla="*/ 881 w 2054"/>
                <a:gd name="T67" fmla="*/ 2165 h 2316"/>
                <a:gd name="T68" fmla="*/ 964 w 2054"/>
                <a:gd name="T69" fmla="*/ 2204 h 2316"/>
                <a:gd name="T70" fmla="*/ 1242 w 2054"/>
                <a:gd name="T71" fmla="*/ 2219 h 2316"/>
                <a:gd name="T72" fmla="*/ 1481 w 2054"/>
                <a:gd name="T73" fmla="*/ 2242 h 2316"/>
                <a:gd name="T74" fmla="*/ 1800 w 2054"/>
                <a:gd name="T75" fmla="*/ 2158 h 2316"/>
                <a:gd name="T76" fmla="*/ 1796 w 2054"/>
                <a:gd name="T77" fmla="*/ 1836 h 2316"/>
                <a:gd name="T78" fmla="*/ 1742 w 2054"/>
                <a:gd name="T79" fmla="*/ 1380 h 2316"/>
                <a:gd name="T80" fmla="*/ 1934 w 2054"/>
                <a:gd name="T81" fmla="*/ 1308 h 2316"/>
                <a:gd name="T82" fmla="*/ 2054 w 2054"/>
                <a:gd name="T83" fmla="*/ 1128 h 2316"/>
                <a:gd name="T84" fmla="*/ 796 w 2054"/>
                <a:gd name="T85" fmla="*/ 2175 h 2316"/>
                <a:gd name="T86" fmla="*/ 839 w 2054"/>
                <a:gd name="T87" fmla="*/ 2142 h 2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54" h="2316">
                  <a:moveTo>
                    <a:pt x="2054" y="1128"/>
                  </a:moveTo>
                  <a:cubicBezTo>
                    <a:pt x="2006" y="1062"/>
                    <a:pt x="2006" y="1062"/>
                    <a:pt x="2006" y="1062"/>
                  </a:cubicBezTo>
                  <a:cubicBezTo>
                    <a:pt x="2012" y="864"/>
                    <a:pt x="2012" y="864"/>
                    <a:pt x="2012" y="864"/>
                  </a:cubicBezTo>
                  <a:cubicBezTo>
                    <a:pt x="1874" y="768"/>
                    <a:pt x="1874" y="768"/>
                    <a:pt x="1874" y="768"/>
                  </a:cubicBezTo>
                  <a:cubicBezTo>
                    <a:pt x="1904" y="708"/>
                    <a:pt x="1904" y="708"/>
                    <a:pt x="1904" y="708"/>
                  </a:cubicBezTo>
                  <a:cubicBezTo>
                    <a:pt x="1826" y="636"/>
                    <a:pt x="1826" y="636"/>
                    <a:pt x="1826" y="636"/>
                  </a:cubicBezTo>
                  <a:cubicBezTo>
                    <a:pt x="1802" y="546"/>
                    <a:pt x="1802" y="546"/>
                    <a:pt x="1802" y="546"/>
                  </a:cubicBezTo>
                  <a:cubicBezTo>
                    <a:pt x="1832" y="420"/>
                    <a:pt x="1832" y="420"/>
                    <a:pt x="1832" y="420"/>
                  </a:cubicBezTo>
                  <a:cubicBezTo>
                    <a:pt x="1778" y="294"/>
                    <a:pt x="1778" y="294"/>
                    <a:pt x="1778" y="294"/>
                  </a:cubicBezTo>
                  <a:cubicBezTo>
                    <a:pt x="1736" y="348"/>
                    <a:pt x="1736" y="348"/>
                    <a:pt x="1736" y="348"/>
                  </a:cubicBezTo>
                  <a:cubicBezTo>
                    <a:pt x="1688" y="354"/>
                    <a:pt x="1688" y="354"/>
                    <a:pt x="1688" y="354"/>
                  </a:cubicBezTo>
                  <a:cubicBezTo>
                    <a:pt x="1676" y="270"/>
                    <a:pt x="1676" y="270"/>
                    <a:pt x="1676" y="270"/>
                  </a:cubicBezTo>
                  <a:cubicBezTo>
                    <a:pt x="1634" y="270"/>
                    <a:pt x="1634" y="270"/>
                    <a:pt x="1634" y="270"/>
                  </a:cubicBezTo>
                  <a:cubicBezTo>
                    <a:pt x="1604" y="126"/>
                    <a:pt x="1604" y="126"/>
                    <a:pt x="1604" y="126"/>
                  </a:cubicBezTo>
                  <a:cubicBezTo>
                    <a:pt x="1520" y="132"/>
                    <a:pt x="1520" y="132"/>
                    <a:pt x="1520" y="132"/>
                  </a:cubicBezTo>
                  <a:cubicBezTo>
                    <a:pt x="1514" y="54"/>
                    <a:pt x="1514" y="54"/>
                    <a:pt x="1514" y="54"/>
                  </a:cubicBezTo>
                  <a:cubicBezTo>
                    <a:pt x="1442" y="66"/>
                    <a:pt x="1442" y="66"/>
                    <a:pt x="1442" y="66"/>
                  </a:cubicBezTo>
                  <a:cubicBezTo>
                    <a:pt x="1442" y="66"/>
                    <a:pt x="1388" y="0"/>
                    <a:pt x="1340" y="48"/>
                  </a:cubicBezTo>
                  <a:cubicBezTo>
                    <a:pt x="1292" y="96"/>
                    <a:pt x="1352" y="120"/>
                    <a:pt x="1352" y="120"/>
                  </a:cubicBezTo>
                  <a:cubicBezTo>
                    <a:pt x="1358" y="192"/>
                    <a:pt x="1358" y="192"/>
                    <a:pt x="1358" y="192"/>
                  </a:cubicBezTo>
                  <a:cubicBezTo>
                    <a:pt x="1280" y="186"/>
                    <a:pt x="1280" y="186"/>
                    <a:pt x="1280" y="186"/>
                  </a:cubicBezTo>
                  <a:cubicBezTo>
                    <a:pt x="1244" y="246"/>
                    <a:pt x="1244" y="246"/>
                    <a:pt x="1244" y="246"/>
                  </a:cubicBezTo>
                  <a:cubicBezTo>
                    <a:pt x="1154" y="264"/>
                    <a:pt x="1154" y="264"/>
                    <a:pt x="1154" y="264"/>
                  </a:cubicBezTo>
                  <a:cubicBezTo>
                    <a:pt x="1154" y="264"/>
                    <a:pt x="1152" y="263"/>
                    <a:pt x="1148" y="260"/>
                  </a:cubicBezTo>
                  <a:cubicBezTo>
                    <a:pt x="1148" y="260"/>
                    <a:pt x="1148" y="260"/>
                    <a:pt x="1148" y="260"/>
                  </a:cubicBezTo>
                  <a:cubicBezTo>
                    <a:pt x="1132" y="277"/>
                    <a:pt x="1132" y="277"/>
                    <a:pt x="1132" y="277"/>
                  </a:cubicBezTo>
                  <a:cubicBezTo>
                    <a:pt x="1132" y="277"/>
                    <a:pt x="1204" y="309"/>
                    <a:pt x="1156" y="322"/>
                  </a:cubicBezTo>
                  <a:cubicBezTo>
                    <a:pt x="1108" y="335"/>
                    <a:pt x="1103" y="325"/>
                    <a:pt x="1073" y="319"/>
                  </a:cubicBezTo>
                  <a:cubicBezTo>
                    <a:pt x="1044" y="314"/>
                    <a:pt x="1044" y="378"/>
                    <a:pt x="1044" y="378"/>
                  </a:cubicBezTo>
                  <a:cubicBezTo>
                    <a:pt x="1017" y="386"/>
                    <a:pt x="1017" y="386"/>
                    <a:pt x="1017" y="386"/>
                  </a:cubicBezTo>
                  <a:cubicBezTo>
                    <a:pt x="980" y="447"/>
                    <a:pt x="980" y="447"/>
                    <a:pt x="980" y="447"/>
                  </a:cubicBezTo>
                  <a:cubicBezTo>
                    <a:pt x="948" y="413"/>
                    <a:pt x="948" y="413"/>
                    <a:pt x="948" y="413"/>
                  </a:cubicBezTo>
                  <a:cubicBezTo>
                    <a:pt x="1001" y="314"/>
                    <a:pt x="1001" y="314"/>
                    <a:pt x="1001" y="314"/>
                  </a:cubicBezTo>
                  <a:cubicBezTo>
                    <a:pt x="903" y="303"/>
                    <a:pt x="903" y="303"/>
                    <a:pt x="903" y="303"/>
                  </a:cubicBezTo>
                  <a:cubicBezTo>
                    <a:pt x="873" y="205"/>
                    <a:pt x="873" y="205"/>
                    <a:pt x="873" y="205"/>
                  </a:cubicBezTo>
                  <a:cubicBezTo>
                    <a:pt x="817" y="215"/>
                    <a:pt x="817" y="215"/>
                    <a:pt x="817" y="215"/>
                  </a:cubicBezTo>
                  <a:cubicBezTo>
                    <a:pt x="831" y="314"/>
                    <a:pt x="831" y="314"/>
                    <a:pt x="831" y="314"/>
                  </a:cubicBezTo>
                  <a:cubicBezTo>
                    <a:pt x="791" y="293"/>
                    <a:pt x="791" y="293"/>
                    <a:pt x="791" y="293"/>
                  </a:cubicBezTo>
                  <a:cubicBezTo>
                    <a:pt x="743" y="239"/>
                    <a:pt x="743" y="239"/>
                    <a:pt x="743" y="239"/>
                  </a:cubicBezTo>
                  <a:cubicBezTo>
                    <a:pt x="708" y="242"/>
                    <a:pt x="708" y="242"/>
                    <a:pt x="708" y="242"/>
                  </a:cubicBezTo>
                  <a:cubicBezTo>
                    <a:pt x="727" y="357"/>
                    <a:pt x="727" y="357"/>
                    <a:pt x="727" y="357"/>
                  </a:cubicBezTo>
                  <a:cubicBezTo>
                    <a:pt x="759" y="386"/>
                    <a:pt x="759" y="386"/>
                    <a:pt x="759" y="386"/>
                  </a:cubicBezTo>
                  <a:cubicBezTo>
                    <a:pt x="745" y="527"/>
                    <a:pt x="745" y="527"/>
                    <a:pt x="745" y="527"/>
                  </a:cubicBezTo>
                  <a:cubicBezTo>
                    <a:pt x="695" y="583"/>
                    <a:pt x="695" y="583"/>
                    <a:pt x="695" y="583"/>
                  </a:cubicBezTo>
                  <a:cubicBezTo>
                    <a:pt x="652" y="725"/>
                    <a:pt x="652" y="725"/>
                    <a:pt x="652" y="725"/>
                  </a:cubicBezTo>
                  <a:cubicBezTo>
                    <a:pt x="625" y="746"/>
                    <a:pt x="625" y="746"/>
                    <a:pt x="625" y="746"/>
                  </a:cubicBezTo>
                  <a:cubicBezTo>
                    <a:pt x="608" y="804"/>
                    <a:pt x="608" y="804"/>
                    <a:pt x="608" y="804"/>
                  </a:cubicBezTo>
                  <a:cubicBezTo>
                    <a:pt x="567" y="837"/>
                    <a:pt x="567" y="837"/>
                    <a:pt x="567" y="837"/>
                  </a:cubicBezTo>
                  <a:cubicBezTo>
                    <a:pt x="526" y="863"/>
                    <a:pt x="526" y="863"/>
                    <a:pt x="526" y="863"/>
                  </a:cubicBezTo>
                  <a:cubicBezTo>
                    <a:pt x="532" y="865"/>
                    <a:pt x="538" y="867"/>
                    <a:pt x="543" y="868"/>
                  </a:cubicBezTo>
                  <a:cubicBezTo>
                    <a:pt x="476" y="909"/>
                    <a:pt x="491" y="980"/>
                    <a:pt x="449" y="1029"/>
                  </a:cubicBezTo>
                  <a:cubicBezTo>
                    <a:pt x="418" y="1065"/>
                    <a:pt x="352" y="1047"/>
                    <a:pt x="337" y="1118"/>
                  </a:cubicBezTo>
                  <a:cubicBezTo>
                    <a:pt x="338" y="1114"/>
                    <a:pt x="255" y="1216"/>
                    <a:pt x="253" y="1218"/>
                  </a:cubicBezTo>
                  <a:cubicBezTo>
                    <a:pt x="264" y="1211"/>
                    <a:pt x="186" y="1442"/>
                    <a:pt x="187" y="1445"/>
                  </a:cubicBezTo>
                  <a:cubicBezTo>
                    <a:pt x="202" y="1489"/>
                    <a:pt x="161" y="1553"/>
                    <a:pt x="130" y="1602"/>
                  </a:cubicBezTo>
                  <a:cubicBezTo>
                    <a:pt x="95" y="1659"/>
                    <a:pt x="103" y="1834"/>
                    <a:pt x="90" y="1860"/>
                  </a:cubicBezTo>
                  <a:cubicBezTo>
                    <a:pt x="35" y="1971"/>
                    <a:pt x="0" y="2134"/>
                    <a:pt x="58" y="2236"/>
                  </a:cubicBezTo>
                  <a:cubicBezTo>
                    <a:pt x="83" y="2234"/>
                    <a:pt x="121" y="2250"/>
                    <a:pt x="127" y="2250"/>
                  </a:cubicBezTo>
                  <a:cubicBezTo>
                    <a:pt x="115" y="2255"/>
                    <a:pt x="103" y="2261"/>
                    <a:pt x="90" y="2266"/>
                  </a:cubicBezTo>
                  <a:cubicBezTo>
                    <a:pt x="152" y="2315"/>
                    <a:pt x="208" y="2218"/>
                    <a:pt x="370" y="2289"/>
                  </a:cubicBezTo>
                  <a:cubicBezTo>
                    <a:pt x="420" y="2310"/>
                    <a:pt x="456" y="2224"/>
                    <a:pt x="537" y="2236"/>
                  </a:cubicBezTo>
                  <a:cubicBezTo>
                    <a:pt x="581" y="2243"/>
                    <a:pt x="608" y="2297"/>
                    <a:pt x="681" y="2264"/>
                  </a:cubicBezTo>
                  <a:cubicBezTo>
                    <a:pt x="677" y="2221"/>
                    <a:pt x="709" y="2205"/>
                    <a:pt x="734" y="2250"/>
                  </a:cubicBezTo>
                  <a:cubicBezTo>
                    <a:pt x="838" y="2174"/>
                    <a:pt x="699" y="2203"/>
                    <a:pt x="684" y="2192"/>
                  </a:cubicBezTo>
                  <a:cubicBezTo>
                    <a:pt x="652" y="2171"/>
                    <a:pt x="630" y="2205"/>
                    <a:pt x="626" y="2149"/>
                  </a:cubicBezTo>
                  <a:cubicBezTo>
                    <a:pt x="624" y="2114"/>
                    <a:pt x="703" y="2068"/>
                    <a:pt x="730" y="2064"/>
                  </a:cubicBezTo>
                  <a:cubicBezTo>
                    <a:pt x="727" y="2055"/>
                    <a:pt x="758" y="2038"/>
                    <a:pt x="776" y="2078"/>
                  </a:cubicBezTo>
                  <a:cubicBezTo>
                    <a:pt x="828" y="2047"/>
                    <a:pt x="849" y="2124"/>
                    <a:pt x="881" y="2165"/>
                  </a:cubicBezTo>
                  <a:cubicBezTo>
                    <a:pt x="888" y="2160"/>
                    <a:pt x="890" y="2125"/>
                    <a:pt x="886" y="2110"/>
                  </a:cubicBezTo>
                  <a:cubicBezTo>
                    <a:pt x="914" y="2140"/>
                    <a:pt x="927" y="2190"/>
                    <a:pt x="964" y="2204"/>
                  </a:cubicBezTo>
                  <a:cubicBezTo>
                    <a:pt x="980" y="2210"/>
                    <a:pt x="1042" y="2161"/>
                    <a:pt x="1087" y="2177"/>
                  </a:cubicBezTo>
                  <a:cubicBezTo>
                    <a:pt x="1138" y="2196"/>
                    <a:pt x="1192" y="2201"/>
                    <a:pt x="1242" y="2219"/>
                  </a:cubicBezTo>
                  <a:cubicBezTo>
                    <a:pt x="1328" y="2250"/>
                    <a:pt x="1349" y="2294"/>
                    <a:pt x="1411" y="2316"/>
                  </a:cubicBezTo>
                  <a:cubicBezTo>
                    <a:pt x="1481" y="2242"/>
                    <a:pt x="1481" y="2242"/>
                    <a:pt x="1481" y="2242"/>
                  </a:cubicBezTo>
                  <a:cubicBezTo>
                    <a:pt x="1616" y="2172"/>
                    <a:pt x="1616" y="2172"/>
                    <a:pt x="1616" y="2172"/>
                  </a:cubicBezTo>
                  <a:cubicBezTo>
                    <a:pt x="1800" y="2158"/>
                    <a:pt x="1800" y="2158"/>
                    <a:pt x="1800" y="2158"/>
                  </a:cubicBezTo>
                  <a:cubicBezTo>
                    <a:pt x="1772" y="1974"/>
                    <a:pt x="1772" y="1974"/>
                    <a:pt x="1772" y="1974"/>
                  </a:cubicBezTo>
                  <a:cubicBezTo>
                    <a:pt x="1796" y="1836"/>
                    <a:pt x="1796" y="1836"/>
                    <a:pt x="1796" y="1836"/>
                  </a:cubicBezTo>
                  <a:cubicBezTo>
                    <a:pt x="1796" y="1836"/>
                    <a:pt x="1790" y="1668"/>
                    <a:pt x="1778" y="1590"/>
                  </a:cubicBezTo>
                  <a:cubicBezTo>
                    <a:pt x="1766" y="1512"/>
                    <a:pt x="1694" y="1440"/>
                    <a:pt x="1742" y="1380"/>
                  </a:cubicBezTo>
                  <a:cubicBezTo>
                    <a:pt x="1790" y="1320"/>
                    <a:pt x="1850" y="1380"/>
                    <a:pt x="1850" y="1380"/>
                  </a:cubicBezTo>
                  <a:cubicBezTo>
                    <a:pt x="1934" y="1308"/>
                    <a:pt x="1934" y="1308"/>
                    <a:pt x="1934" y="1308"/>
                  </a:cubicBezTo>
                  <a:cubicBezTo>
                    <a:pt x="1910" y="1158"/>
                    <a:pt x="1910" y="1158"/>
                    <a:pt x="1910" y="1158"/>
                  </a:cubicBezTo>
                  <a:lnTo>
                    <a:pt x="2054" y="1128"/>
                  </a:lnTo>
                  <a:close/>
                  <a:moveTo>
                    <a:pt x="815" y="2131"/>
                  </a:moveTo>
                  <a:cubicBezTo>
                    <a:pt x="796" y="2175"/>
                    <a:pt x="796" y="2175"/>
                    <a:pt x="796" y="2175"/>
                  </a:cubicBezTo>
                  <a:cubicBezTo>
                    <a:pt x="850" y="2180"/>
                    <a:pt x="850" y="2180"/>
                    <a:pt x="850" y="2180"/>
                  </a:cubicBezTo>
                  <a:cubicBezTo>
                    <a:pt x="839" y="2142"/>
                    <a:pt x="839" y="2142"/>
                    <a:pt x="839" y="2142"/>
                  </a:cubicBezTo>
                  <a:lnTo>
                    <a:pt x="815" y="2131"/>
                  </a:lnTo>
                  <a:close/>
                </a:path>
              </a:pathLst>
            </a:custGeom>
            <a:solidFill>
              <a:schemeClr val="accent6"/>
            </a:solidFill>
            <a:ln w="6350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 dirty="0">
                <a:solidFill>
                  <a:schemeClr val="bg1"/>
                </a:solidFill>
              </a:endParaRPr>
            </a:p>
          </p:txBody>
        </p:sp>
        <p:sp>
          <p:nvSpPr>
            <p:cNvPr id="29" name="Schleswig-Holstein"/>
            <p:cNvSpPr>
              <a:spLocks noEditPoints="1"/>
            </p:cNvSpPr>
            <p:nvPr/>
          </p:nvSpPr>
          <p:spPr bwMode="gray">
            <a:xfrm>
              <a:off x="4568483" y="228600"/>
              <a:ext cx="1549366" cy="1321232"/>
            </a:xfrm>
            <a:custGeom>
              <a:avLst/>
              <a:gdLst>
                <a:gd name="T0" fmla="*/ 1601 w 2022"/>
                <a:gd name="T1" fmla="*/ 732 h 1722"/>
                <a:gd name="T2" fmla="*/ 1355 w 2022"/>
                <a:gd name="T3" fmla="*/ 643 h 1722"/>
                <a:gd name="T4" fmla="*/ 1240 w 2022"/>
                <a:gd name="T5" fmla="*/ 344 h 1722"/>
                <a:gd name="T6" fmla="*/ 921 w 2022"/>
                <a:gd name="T7" fmla="*/ 270 h 1722"/>
                <a:gd name="T8" fmla="*/ 525 w 2022"/>
                <a:gd name="T9" fmla="*/ 172 h 1722"/>
                <a:gd name="T10" fmla="*/ 553 w 2022"/>
                <a:gd name="T11" fmla="*/ 484 h 1722"/>
                <a:gd name="T12" fmla="*/ 644 w 2022"/>
                <a:gd name="T13" fmla="*/ 578 h 1722"/>
                <a:gd name="T14" fmla="*/ 459 w 2022"/>
                <a:gd name="T15" fmla="*/ 720 h 1722"/>
                <a:gd name="T16" fmla="*/ 618 w 2022"/>
                <a:gd name="T17" fmla="*/ 990 h 1722"/>
                <a:gd name="T18" fmla="*/ 779 w 2022"/>
                <a:gd name="T19" fmla="*/ 1184 h 1722"/>
                <a:gd name="T20" fmla="*/ 1106 w 2022"/>
                <a:gd name="T21" fmla="*/ 1451 h 1722"/>
                <a:gd name="T22" fmla="*/ 1258 w 2022"/>
                <a:gd name="T23" fmla="*/ 1431 h 1722"/>
                <a:gd name="T24" fmla="*/ 1356 w 2022"/>
                <a:gd name="T25" fmla="*/ 1347 h 1722"/>
                <a:gd name="T26" fmla="*/ 1379 w 2022"/>
                <a:gd name="T27" fmla="*/ 1450 h 1722"/>
                <a:gd name="T28" fmla="*/ 1332 w 2022"/>
                <a:gd name="T29" fmla="*/ 1556 h 1722"/>
                <a:gd name="T30" fmla="*/ 1460 w 2022"/>
                <a:gd name="T31" fmla="*/ 1619 h 1722"/>
                <a:gd name="T32" fmla="*/ 1543 w 2022"/>
                <a:gd name="T33" fmla="*/ 1702 h 1722"/>
                <a:gd name="T34" fmla="*/ 1738 w 2022"/>
                <a:gd name="T35" fmla="*/ 1511 h 1722"/>
                <a:gd name="T36" fmla="*/ 1700 w 2022"/>
                <a:gd name="T37" fmla="*/ 1337 h 1722"/>
                <a:gd name="T38" fmla="*/ 1614 w 2022"/>
                <a:gd name="T39" fmla="*/ 1298 h 1722"/>
                <a:gd name="T40" fmla="*/ 1836 w 2022"/>
                <a:gd name="T41" fmla="*/ 935 h 1722"/>
                <a:gd name="T42" fmla="*/ 1827 w 2022"/>
                <a:gd name="T43" fmla="*/ 737 h 1722"/>
                <a:gd name="T44" fmla="*/ 385 w 2022"/>
                <a:gd name="T45" fmla="*/ 419 h 1722"/>
                <a:gd name="T46" fmla="*/ 297 w 2022"/>
                <a:gd name="T47" fmla="*/ 453 h 1722"/>
                <a:gd name="T48" fmla="*/ 39 w 2022"/>
                <a:gd name="T49" fmla="*/ 879 h 1722"/>
                <a:gd name="T50" fmla="*/ 12 w 2022"/>
                <a:gd name="T51" fmla="*/ 849 h 1722"/>
                <a:gd name="T52" fmla="*/ 497 w 2022"/>
                <a:gd name="T53" fmla="*/ 441 h 1722"/>
                <a:gd name="T54" fmla="*/ 2022 w 2022"/>
                <a:gd name="T55" fmla="*/ 704 h 1722"/>
                <a:gd name="T56" fmla="*/ 457 w 2022"/>
                <a:gd name="T57" fmla="*/ 558 h 1722"/>
                <a:gd name="T58" fmla="*/ 481 w 2022"/>
                <a:gd name="T59" fmla="*/ 605 h 1722"/>
                <a:gd name="T60" fmla="*/ 356 w 2022"/>
                <a:gd name="T61" fmla="*/ 195 h 1722"/>
                <a:gd name="T62" fmla="*/ 290 w 2022"/>
                <a:gd name="T63" fmla="*/ 95 h 1722"/>
                <a:gd name="T64" fmla="*/ 331 w 2022"/>
                <a:gd name="T65" fmla="*/ 23 h 1722"/>
                <a:gd name="T66" fmla="*/ 337 w 2022"/>
                <a:gd name="T67" fmla="*/ 1 h 1722"/>
                <a:gd name="T68" fmla="*/ 237 w 2022"/>
                <a:gd name="T69" fmla="*/ 217 h 1722"/>
                <a:gd name="T70" fmla="*/ 246 w 2022"/>
                <a:gd name="T71" fmla="*/ 328 h 1722"/>
                <a:gd name="T72" fmla="*/ 249 w 2022"/>
                <a:gd name="T73" fmla="*/ 252 h 1722"/>
                <a:gd name="T74" fmla="*/ 279 w 2022"/>
                <a:gd name="T75" fmla="*/ 186 h 1722"/>
                <a:gd name="T76" fmla="*/ 380 w 2022"/>
                <a:gd name="T77" fmla="*/ 598 h 1722"/>
                <a:gd name="T78" fmla="*/ 401 w 2022"/>
                <a:gd name="T79" fmla="*/ 484 h 1722"/>
                <a:gd name="T80" fmla="*/ 401 w 2022"/>
                <a:gd name="T81" fmla="*/ 484 h 1722"/>
                <a:gd name="T82" fmla="*/ 492 w 2022"/>
                <a:gd name="T83" fmla="*/ 998 h 1722"/>
                <a:gd name="T84" fmla="*/ 541 w 2022"/>
                <a:gd name="T85" fmla="*/ 527 h 1722"/>
                <a:gd name="T86" fmla="*/ 342 w 2022"/>
                <a:gd name="T87" fmla="*/ 494 h 1722"/>
                <a:gd name="T88" fmla="*/ 357 w 2022"/>
                <a:gd name="T89" fmla="*/ 641 h 1722"/>
                <a:gd name="T90" fmla="*/ 302 w 2022"/>
                <a:gd name="T91" fmla="*/ 363 h 1722"/>
                <a:gd name="T92" fmla="*/ 351 w 2022"/>
                <a:gd name="T93" fmla="*/ 555 h 1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22" h="1722">
                  <a:moveTo>
                    <a:pt x="1827" y="737"/>
                  </a:moveTo>
                  <a:cubicBezTo>
                    <a:pt x="1828" y="737"/>
                    <a:pt x="1787" y="704"/>
                    <a:pt x="1730" y="756"/>
                  </a:cubicBezTo>
                  <a:cubicBezTo>
                    <a:pt x="1663" y="816"/>
                    <a:pt x="1654" y="765"/>
                    <a:pt x="1601" y="732"/>
                  </a:cubicBezTo>
                  <a:cubicBezTo>
                    <a:pt x="1559" y="705"/>
                    <a:pt x="1500" y="681"/>
                    <a:pt x="1452" y="666"/>
                  </a:cubicBezTo>
                  <a:cubicBezTo>
                    <a:pt x="1362" y="638"/>
                    <a:pt x="1383" y="760"/>
                    <a:pt x="1332" y="767"/>
                  </a:cubicBezTo>
                  <a:cubicBezTo>
                    <a:pt x="1327" y="768"/>
                    <a:pt x="1356" y="644"/>
                    <a:pt x="1355" y="643"/>
                  </a:cubicBezTo>
                  <a:cubicBezTo>
                    <a:pt x="1349" y="578"/>
                    <a:pt x="1212" y="644"/>
                    <a:pt x="1169" y="633"/>
                  </a:cubicBezTo>
                  <a:cubicBezTo>
                    <a:pt x="1218" y="643"/>
                    <a:pt x="1309" y="461"/>
                    <a:pt x="1236" y="408"/>
                  </a:cubicBezTo>
                  <a:cubicBezTo>
                    <a:pt x="1280" y="440"/>
                    <a:pt x="1240" y="337"/>
                    <a:pt x="1240" y="344"/>
                  </a:cubicBezTo>
                  <a:cubicBezTo>
                    <a:pt x="1240" y="268"/>
                    <a:pt x="1186" y="329"/>
                    <a:pt x="1171" y="330"/>
                  </a:cubicBezTo>
                  <a:cubicBezTo>
                    <a:pt x="1119" y="335"/>
                    <a:pt x="1038" y="234"/>
                    <a:pt x="1010" y="220"/>
                  </a:cubicBezTo>
                  <a:cubicBezTo>
                    <a:pt x="1002" y="216"/>
                    <a:pt x="933" y="270"/>
                    <a:pt x="921" y="270"/>
                  </a:cubicBezTo>
                  <a:cubicBezTo>
                    <a:pt x="905" y="200"/>
                    <a:pt x="893" y="252"/>
                    <a:pt x="859" y="268"/>
                  </a:cubicBezTo>
                  <a:cubicBezTo>
                    <a:pt x="797" y="300"/>
                    <a:pt x="819" y="217"/>
                    <a:pt x="785" y="211"/>
                  </a:cubicBezTo>
                  <a:cubicBezTo>
                    <a:pt x="683" y="193"/>
                    <a:pt x="623" y="163"/>
                    <a:pt x="525" y="172"/>
                  </a:cubicBezTo>
                  <a:cubicBezTo>
                    <a:pt x="481" y="175"/>
                    <a:pt x="470" y="128"/>
                    <a:pt x="445" y="195"/>
                  </a:cubicBezTo>
                  <a:cubicBezTo>
                    <a:pt x="431" y="231"/>
                    <a:pt x="505" y="323"/>
                    <a:pt x="492" y="336"/>
                  </a:cubicBezTo>
                  <a:cubicBezTo>
                    <a:pt x="498" y="330"/>
                    <a:pt x="550" y="480"/>
                    <a:pt x="553" y="484"/>
                  </a:cubicBezTo>
                  <a:cubicBezTo>
                    <a:pt x="557" y="489"/>
                    <a:pt x="648" y="515"/>
                    <a:pt x="629" y="553"/>
                  </a:cubicBezTo>
                  <a:cubicBezTo>
                    <a:pt x="617" y="577"/>
                    <a:pt x="540" y="542"/>
                    <a:pt x="546" y="603"/>
                  </a:cubicBezTo>
                  <a:cubicBezTo>
                    <a:pt x="553" y="667"/>
                    <a:pt x="629" y="591"/>
                    <a:pt x="644" y="578"/>
                  </a:cubicBezTo>
                  <a:cubicBezTo>
                    <a:pt x="642" y="580"/>
                    <a:pt x="627" y="655"/>
                    <a:pt x="587" y="675"/>
                  </a:cubicBezTo>
                  <a:cubicBezTo>
                    <a:pt x="587" y="675"/>
                    <a:pt x="410" y="663"/>
                    <a:pt x="438" y="700"/>
                  </a:cubicBezTo>
                  <a:cubicBezTo>
                    <a:pt x="454" y="701"/>
                    <a:pt x="461" y="708"/>
                    <a:pt x="459" y="720"/>
                  </a:cubicBezTo>
                  <a:cubicBezTo>
                    <a:pt x="269" y="801"/>
                    <a:pt x="615" y="838"/>
                    <a:pt x="625" y="775"/>
                  </a:cubicBezTo>
                  <a:cubicBezTo>
                    <a:pt x="614" y="849"/>
                    <a:pt x="503" y="828"/>
                    <a:pt x="548" y="933"/>
                  </a:cubicBezTo>
                  <a:cubicBezTo>
                    <a:pt x="555" y="948"/>
                    <a:pt x="599" y="964"/>
                    <a:pt x="618" y="990"/>
                  </a:cubicBezTo>
                  <a:cubicBezTo>
                    <a:pt x="674" y="1067"/>
                    <a:pt x="582" y="1016"/>
                    <a:pt x="553" y="1054"/>
                  </a:cubicBezTo>
                  <a:cubicBezTo>
                    <a:pt x="543" y="1068"/>
                    <a:pt x="579" y="1102"/>
                    <a:pt x="583" y="1120"/>
                  </a:cubicBezTo>
                  <a:cubicBezTo>
                    <a:pt x="608" y="1242"/>
                    <a:pt x="699" y="1166"/>
                    <a:pt x="779" y="1184"/>
                  </a:cubicBezTo>
                  <a:cubicBezTo>
                    <a:pt x="853" y="1201"/>
                    <a:pt x="879" y="1253"/>
                    <a:pt x="904" y="1318"/>
                  </a:cubicBezTo>
                  <a:cubicBezTo>
                    <a:pt x="919" y="1357"/>
                    <a:pt x="962" y="1435"/>
                    <a:pt x="1015" y="1487"/>
                  </a:cubicBezTo>
                  <a:cubicBezTo>
                    <a:pt x="1106" y="1451"/>
                    <a:pt x="1106" y="1451"/>
                    <a:pt x="1106" y="1451"/>
                  </a:cubicBezTo>
                  <a:cubicBezTo>
                    <a:pt x="1177" y="1466"/>
                    <a:pt x="1177" y="1466"/>
                    <a:pt x="1177" y="1466"/>
                  </a:cubicBezTo>
                  <a:cubicBezTo>
                    <a:pt x="1201" y="1431"/>
                    <a:pt x="1201" y="1431"/>
                    <a:pt x="1201" y="1431"/>
                  </a:cubicBezTo>
                  <a:cubicBezTo>
                    <a:pt x="1258" y="1431"/>
                    <a:pt x="1258" y="1431"/>
                    <a:pt x="1258" y="1431"/>
                  </a:cubicBezTo>
                  <a:cubicBezTo>
                    <a:pt x="1254" y="1396"/>
                    <a:pt x="1254" y="1396"/>
                    <a:pt x="1254" y="1396"/>
                  </a:cubicBezTo>
                  <a:cubicBezTo>
                    <a:pt x="1293" y="1398"/>
                    <a:pt x="1293" y="1398"/>
                    <a:pt x="1293" y="1398"/>
                  </a:cubicBezTo>
                  <a:cubicBezTo>
                    <a:pt x="1356" y="1347"/>
                    <a:pt x="1356" y="1347"/>
                    <a:pt x="1356" y="1347"/>
                  </a:cubicBezTo>
                  <a:cubicBezTo>
                    <a:pt x="1386" y="1359"/>
                    <a:pt x="1386" y="1359"/>
                    <a:pt x="1386" y="1359"/>
                  </a:cubicBezTo>
                  <a:cubicBezTo>
                    <a:pt x="1356" y="1428"/>
                    <a:pt x="1356" y="1428"/>
                    <a:pt x="1356" y="1428"/>
                  </a:cubicBezTo>
                  <a:cubicBezTo>
                    <a:pt x="1379" y="1450"/>
                    <a:pt x="1379" y="1450"/>
                    <a:pt x="1379" y="1450"/>
                  </a:cubicBezTo>
                  <a:cubicBezTo>
                    <a:pt x="1381" y="1494"/>
                    <a:pt x="1381" y="1494"/>
                    <a:pt x="1381" y="1494"/>
                  </a:cubicBezTo>
                  <a:cubicBezTo>
                    <a:pt x="1326" y="1523"/>
                    <a:pt x="1326" y="1523"/>
                    <a:pt x="1326" y="1523"/>
                  </a:cubicBezTo>
                  <a:cubicBezTo>
                    <a:pt x="1332" y="1556"/>
                    <a:pt x="1332" y="1556"/>
                    <a:pt x="1332" y="1556"/>
                  </a:cubicBezTo>
                  <a:cubicBezTo>
                    <a:pt x="1395" y="1568"/>
                    <a:pt x="1395" y="1568"/>
                    <a:pt x="1395" y="1568"/>
                  </a:cubicBezTo>
                  <a:cubicBezTo>
                    <a:pt x="1416" y="1618"/>
                    <a:pt x="1416" y="1618"/>
                    <a:pt x="1416" y="1618"/>
                  </a:cubicBezTo>
                  <a:cubicBezTo>
                    <a:pt x="1460" y="1619"/>
                    <a:pt x="1460" y="1619"/>
                    <a:pt x="1460" y="1619"/>
                  </a:cubicBezTo>
                  <a:cubicBezTo>
                    <a:pt x="1459" y="1636"/>
                    <a:pt x="1459" y="1636"/>
                    <a:pt x="1459" y="1636"/>
                  </a:cubicBezTo>
                  <a:cubicBezTo>
                    <a:pt x="1489" y="1642"/>
                    <a:pt x="1489" y="1642"/>
                    <a:pt x="1489" y="1642"/>
                  </a:cubicBezTo>
                  <a:cubicBezTo>
                    <a:pt x="1489" y="1642"/>
                    <a:pt x="1509" y="1682"/>
                    <a:pt x="1543" y="1702"/>
                  </a:cubicBezTo>
                  <a:cubicBezTo>
                    <a:pt x="1578" y="1722"/>
                    <a:pt x="1611" y="1721"/>
                    <a:pt x="1635" y="1716"/>
                  </a:cubicBezTo>
                  <a:cubicBezTo>
                    <a:pt x="1578" y="1657"/>
                    <a:pt x="1727" y="1582"/>
                    <a:pt x="1727" y="1582"/>
                  </a:cubicBezTo>
                  <a:cubicBezTo>
                    <a:pt x="1738" y="1511"/>
                    <a:pt x="1738" y="1511"/>
                    <a:pt x="1738" y="1511"/>
                  </a:cubicBezTo>
                  <a:cubicBezTo>
                    <a:pt x="1802" y="1501"/>
                    <a:pt x="1802" y="1501"/>
                    <a:pt x="1802" y="1501"/>
                  </a:cubicBezTo>
                  <a:cubicBezTo>
                    <a:pt x="1802" y="1501"/>
                    <a:pt x="1840" y="1447"/>
                    <a:pt x="1815" y="1407"/>
                  </a:cubicBezTo>
                  <a:cubicBezTo>
                    <a:pt x="1790" y="1368"/>
                    <a:pt x="1700" y="1337"/>
                    <a:pt x="1700" y="1337"/>
                  </a:cubicBezTo>
                  <a:cubicBezTo>
                    <a:pt x="1705" y="1257"/>
                    <a:pt x="1705" y="1257"/>
                    <a:pt x="1705" y="1257"/>
                  </a:cubicBezTo>
                  <a:cubicBezTo>
                    <a:pt x="1692" y="1243"/>
                    <a:pt x="1692" y="1243"/>
                    <a:pt x="1692" y="1243"/>
                  </a:cubicBezTo>
                  <a:cubicBezTo>
                    <a:pt x="1661" y="1271"/>
                    <a:pt x="1633" y="1299"/>
                    <a:pt x="1614" y="1298"/>
                  </a:cubicBezTo>
                  <a:cubicBezTo>
                    <a:pt x="1572" y="1296"/>
                    <a:pt x="1735" y="1167"/>
                    <a:pt x="1734" y="1175"/>
                  </a:cubicBezTo>
                  <a:cubicBezTo>
                    <a:pt x="1741" y="1104"/>
                    <a:pt x="1718" y="1113"/>
                    <a:pt x="1680" y="1061"/>
                  </a:cubicBezTo>
                  <a:cubicBezTo>
                    <a:pt x="1677" y="1058"/>
                    <a:pt x="1818" y="942"/>
                    <a:pt x="1836" y="935"/>
                  </a:cubicBezTo>
                  <a:cubicBezTo>
                    <a:pt x="1906" y="909"/>
                    <a:pt x="1873" y="881"/>
                    <a:pt x="1873" y="827"/>
                  </a:cubicBezTo>
                  <a:cubicBezTo>
                    <a:pt x="1873" y="715"/>
                    <a:pt x="1893" y="788"/>
                    <a:pt x="1907" y="719"/>
                  </a:cubicBezTo>
                  <a:cubicBezTo>
                    <a:pt x="1915" y="679"/>
                    <a:pt x="1832" y="736"/>
                    <a:pt x="1827" y="737"/>
                  </a:cubicBezTo>
                  <a:close/>
                  <a:moveTo>
                    <a:pt x="385" y="419"/>
                  </a:moveTo>
                  <a:cubicBezTo>
                    <a:pt x="422" y="456"/>
                    <a:pt x="429" y="426"/>
                    <a:pt x="441" y="403"/>
                  </a:cubicBezTo>
                  <a:cubicBezTo>
                    <a:pt x="426" y="417"/>
                    <a:pt x="408" y="422"/>
                    <a:pt x="385" y="419"/>
                  </a:cubicBezTo>
                  <a:close/>
                  <a:moveTo>
                    <a:pt x="284" y="340"/>
                  </a:moveTo>
                  <a:cubicBezTo>
                    <a:pt x="264" y="337"/>
                    <a:pt x="242" y="387"/>
                    <a:pt x="235" y="399"/>
                  </a:cubicBezTo>
                  <a:cubicBezTo>
                    <a:pt x="235" y="405"/>
                    <a:pt x="285" y="487"/>
                    <a:pt x="297" y="453"/>
                  </a:cubicBezTo>
                  <a:cubicBezTo>
                    <a:pt x="301" y="440"/>
                    <a:pt x="261" y="336"/>
                    <a:pt x="284" y="340"/>
                  </a:cubicBezTo>
                  <a:close/>
                  <a:moveTo>
                    <a:pt x="39" y="865"/>
                  </a:moveTo>
                  <a:cubicBezTo>
                    <a:pt x="39" y="865"/>
                    <a:pt x="26" y="879"/>
                    <a:pt x="39" y="879"/>
                  </a:cubicBezTo>
                  <a:cubicBezTo>
                    <a:pt x="52" y="879"/>
                    <a:pt x="56" y="865"/>
                    <a:pt x="39" y="865"/>
                  </a:cubicBezTo>
                  <a:close/>
                  <a:moveTo>
                    <a:pt x="13" y="889"/>
                  </a:moveTo>
                  <a:cubicBezTo>
                    <a:pt x="26" y="889"/>
                    <a:pt x="12" y="849"/>
                    <a:pt x="12" y="849"/>
                  </a:cubicBezTo>
                  <a:cubicBezTo>
                    <a:pt x="0" y="862"/>
                    <a:pt x="1" y="876"/>
                    <a:pt x="13" y="889"/>
                  </a:cubicBezTo>
                  <a:close/>
                  <a:moveTo>
                    <a:pt x="489" y="421"/>
                  </a:moveTo>
                  <a:cubicBezTo>
                    <a:pt x="456" y="453"/>
                    <a:pt x="494" y="431"/>
                    <a:pt x="497" y="441"/>
                  </a:cubicBezTo>
                  <a:cubicBezTo>
                    <a:pt x="495" y="447"/>
                    <a:pt x="518" y="392"/>
                    <a:pt x="489" y="421"/>
                  </a:cubicBezTo>
                  <a:close/>
                  <a:moveTo>
                    <a:pt x="1890" y="655"/>
                  </a:moveTo>
                  <a:cubicBezTo>
                    <a:pt x="1927" y="687"/>
                    <a:pt x="1963" y="704"/>
                    <a:pt x="2022" y="704"/>
                  </a:cubicBezTo>
                  <a:cubicBezTo>
                    <a:pt x="2018" y="602"/>
                    <a:pt x="1824" y="510"/>
                    <a:pt x="1843" y="657"/>
                  </a:cubicBezTo>
                  <a:cubicBezTo>
                    <a:pt x="1859" y="662"/>
                    <a:pt x="1874" y="661"/>
                    <a:pt x="1890" y="655"/>
                  </a:cubicBezTo>
                  <a:close/>
                  <a:moveTo>
                    <a:pt x="457" y="558"/>
                  </a:moveTo>
                  <a:cubicBezTo>
                    <a:pt x="480" y="544"/>
                    <a:pt x="484" y="528"/>
                    <a:pt x="468" y="511"/>
                  </a:cubicBezTo>
                  <a:cubicBezTo>
                    <a:pt x="438" y="494"/>
                    <a:pt x="357" y="596"/>
                    <a:pt x="457" y="558"/>
                  </a:cubicBezTo>
                  <a:close/>
                  <a:moveTo>
                    <a:pt x="481" y="605"/>
                  </a:moveTo>
                  <a:cubicBezTo>
                    <a:pt x="497" y="605"/>
                    <a:pt x="484" y="588"/>
                    <a:pt x="484" y="588"/>
                  </a:cubicBezTo>
                  <a:cubicBezTo>
                    <a:pt x="471" y="590"/>
                    <a:pt x="466" y="605"/>
                    <a:pt x="481" y="605"/>
                  </a:cubicBezTo>
                  <a:close/>
                  <a:moveTo>
                    <a:pt x="356" y="195"/>
                  </a:moveTo>
                  <a:cubicBezTo>
                    <a:pt x="362" y="186"/>
                    <a:pt x="321" y="179"/>
                    <a:pt x="304" y="167"/>
                  </a:cubicBezTo>
                  <a:cubicBezTo>
                    <a:pt x="288" y="155"/>
                    <a:pt x="290" y="127"/>
                    <a:pt x="291" y="123"/>
                  </a:cubicBezTo>
                  <a:cubicBezTo>
                    <a:pt x="293" y="118"/>
                    <a:pt x="290" y="95"/>
                    <a:pt x="290" y="95"/>
                  </a:cubicBezTo>
                  <a:cubicBezTo>
                    <a:pt x="290" y="95"/>
                    <a:pt x="303" y="76"/>
                    <a:pt x="307" y="70"/>
                  </a:cubicBezTo>
                  <a:cubicBezTo>
                    <a:pt x="312" y="64"/>
                    <a:pt x="335" y="55"/>
                    <a:pt x="340" y="45"/>
                  </a:cubicBezTo>
                  <a:cubicBezTo>
                    <a:pt x="344" y="35"/>
                    <a:pt x="331" y="23"/>
                    <a:pt x="331" y="23"/>
                  </a:cubicBezTo>
                  <a:cubicBezTo>
                    <a:pt x="331" y="23"/>
                    <a:pt x="326" y="14"/>
                    <a:pt x="332" y="14"/>
                  </a:cubicBezTo>
                  <a:cubicBezTo>
                    <a:pt x="338" y="14"/>
                    <a:pt x="351" y="20"/>
                    <a:pt x="356" y="16"/>
                  </a:cubicBezTo>
                  <a:cubicBezTo>
                    <a:pt x="360" y="11"/>
                    <a:pt x="354" y="2"/>
                    <a:pt x="337" y="1"/>
                  </a:cubicBezTo>
                  <a:cubicBezTo>
                    <a:pt x="319" y="0"/>
                    <a:pt x="313" y="10"/>
                    <a:pt x="307" y="22"/>
                  </a:cubicBezTo>
                  <a:cubicBezTo>
                    <a:pt x="301" y="33"/>
                    <a:pt x="275" y="86"/>
                    <a:pt x="259" y="120"/>
                  </a:cubicBezTo>
                  <a:cubicBezTo>
                    <a:pt x="243" y="154"/>
                    <a:pt x="238" y="206"/>
                    <a:pt x="237" y="217"/>
                  </a:cubicBezTo>
                  <a:cubicBezTo>
                    <a:pt x="235" y="227"/>
                    <a:pt x="238" y="246"/>
                    <a:pt x="234" y="258"/>
                  </a:cubicBezTo>
                  <a:cubicBezTo>
                    <a:pt x="230" y="270"/>
                    <a:pt x="227" y="299"/>
                    <a:pt x="231" y="312"/>
                  </a:cubicBezTo>
                  <a:cubicBezTo>
                    <a:pt x="235" y="325"/>
                    <a:pt x="240" y="331"/>
                    <a:pt x="246" y="328"/>
                  </a:cubicBezTo>
                  <a:cubicBezTo>
                    <a:pt x="252" y="325"/>
                    <a:pt x="244" y="312"/>
                    <a:pt x="244" y="308"/>
                  </a:cubicBezTo>
                  <a:cubicBezTo>
                    <a:pt x="244" y="303"/>
                    <a:pt x="250" y="299"/>
                    <a:pt x="250" y="294"/>
                  </a:cubicBezTo>
                  <a:cubicBezTo>
                    <a:pt x="250" y="290"/>
                    <a:pt x="247" y="267"/>
                    <a:pt x="249" y="252"/>
                  </a:cubicBezTo>
                  <a:cubicBezTo>
                    <a:pt x="250" y="237"/>
                    <a:pt x="250" y="206"/>
                    <a:pt x="256" y="205"/>
                  </a:cubicBezTo>
                  <a:cubicBezTo>
                    <a:pt x="262" y="204"/>
                    <a:pt x="269" y="206"/>
                    <a:pt x="271" y="202"/>
                  </a:cubicBezTo>
                  <a:cubicBezTo>
                    <a:pt x="272" y="198"/>
                    <a:pt x="279" y="186"/>
                    <a:pt x="279" y="186"/>
                  </a:cubicBezTo>
                  <a:cubicBezTo>
                    <a:pt x="284" y="189"/>
                    <a:pt x="281" y="206"/>
                    <a:pt x="299" y="208"/>
                  </a:cubicBezTo>
                  <a:cubicBezTo>
                    <a:pt x="316" y="209"/>
                    <a:pt x="350" y="204"/>
                    <a:pt x="356" y="195"/>
                  </a:cubicBezTo>
                  <a:close/>
                  <a:moveTo>
                    <a:pt x="380" y="598"/>
                  </a:moveTo>
                  <a:cubicBezTo>
                    <a:pt x="378" y="612"/>
                    <a:pt x="397" y="597"/>
                    <a:pt x="397" y="597"/>
                  </a:cubicBezTo>
                  <a:cubicBezTo>
                    <a:pt x="399" y="577"/>
                    <a:pt x="382" y="585"/>
                    <a:pt x="380" y="598"/>
                  </a:cubicBezTo>
                  <a:close/>
                  <a:moveTo>
                    <a:pt x="401" y="484"/>
                  </a:moveTo>
                  <a:cubicBezTo>
                    <a:pt x="389" y="490"/>
                    <a:pt x="379" y="488"/>
                    <a:pt x="369" y="479"/>
                  </a:cubicBezTo>
                  <a:cubicBezTo>
                    <a:pt x="352" y="489"/>
                    <a:pt x="354" y="497"/>
                    <a:pt x="376" y="501"/>
                  </a:cubicBezTo>
                  <a:cubicBezTo>
                    <a:pt x="379" y="498"/>
                    <a:pt x="422" y="521"/>
                    <a:pt x="401" y="484"/>
                  </a:cubicBezTo>
                  <a:close/>
                  <a:moveTo>
                    <a:pt x="469" y="1007"/>
                  </a:moveTo>
                  <a:cubicBezTo>
                    <a:pt x="469" y="1043"/>
                    <a:pt x="490" y="1030"/>
                    <a:pt x="490" y="1030"/>
                  </a:cubicBezTo>
                  <a:cubicBezTo>
                    <a:pt x="492" y="998"/>
                    <a:pt x="492" y="998"/>
                    <a:pt x="492" y="998"/>
                  </a:cubicBezTo>
                  <a:cubicBezTo>
                    <a:pt x="492" y="998"/>
                    <a:pt x="469" y="971"/>
                    <a:pt x="469" y="1007"/>
                  </a:cubicBezTo>
                  <a:close/>
                  <a:moveTo>
                    <a:pt x="541" y="504"/>
                  </a:moveTo>
                  <a:cubicBezTo>
                    <a:pt x="540" y="516"/>
                    <a:pt x="514" y="503"/>
                    <a:pt x="541" y="527"/>
                  </a:cubicBezTo>
                  <a:cubicBezTo>
                    <a:pt x="565" y="521"/>
                    <a:pt x="565" y="514"/>
                    <a:pt x="541" y="504"/>
                  </a:cubicBezTo>
                  <a:close/>
                  <a:moveTo>
                    <a:pt x="324" y="495"/>
                  </a:moveTo>
                  <a:cubicBezTo>
                    <a:pt x="325" y="514"/>
                    <a:pt x="342" y="494"/>
                    <a:pt x="342" y="494"/>
                  </a:cubicBezTo>
                  <a:cubicBezTo>
                    <a:pt x="340" y="477"/>
                    <a:pt x="323" y="477"/>
                    <a:pt x="324" y="495"/>
                  </a:cubicBezTo>
                  <a:close/>
                  <a:moveTo>
                    <a:pt x="348" y="608"/>
                  </a:moveTo>
                  <a:cubicBezTo>
                    <a:pt x="316" y="563"/>
                    <a:pt x="321" y="652"/>
                    <a:pt x="357" y="641"/>
                  </a:cubicBezTo>
                  <a:cubicBezTo>
                    <a:pt x="367" y="629"/>
                    <a:pt x="364" y="618"/>
                    <a:pt x="348" y="608"/>
                  </a:cubicBezTo>
                  <a:close/>
                  <a:moveTo>
                    <a:pt x="302" y="363"/>
                  </a:moveTo>
                  <a:cubicBezTo>
                    <a:pt x="499" y="496"/>
                    <a:pt x="354" y="162"/>
                    <a:pt x="302" y="363"/>
                  </a:cubicBezTo>
                  <a:close/>
                  <a:moveTo>
                    <a:pt x="351" y="555"/>
                  </a:moveTo>
                  <a:cubicBezTo>
                    <a:pt x="359" y="536"/>
                    <a:pt x="354" y="524"/>
                    <a:pt x="338" y="517"/>
                  </a:cubicBezTo>
                  <a:cubicBezTo>
                    <a:pt x="264" y="541"/>
                    <a:pt x="382" y="576"/>
                    <a:pt x="351" y="555"/>
                  </a:cubicBezTo>
                  <a:close/>
                </a:path>
              </a:pathLst>
            </a:custGeom>
            <a:solidFill>
              <a:schemeClr val="accent6"/>
            </a:solidFill>
            <a:ln w="6350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 dirty="0">
                <a:solidFill>
                  <a:schemeClr val="bg1"/>
                </a:solidFill>
              </a:endParaRPr>
            </a:p>
          </p:txBody>
        </p:sp>
        <p:sp>
          <p:nvSpPr>
            <p:cNvPr id="30" name="Rheinland-Pfalz"/>
            <p:cNvSpPr>
              <a:spLocks/>
            </p:cNvSpPr>
            <p:nvPr/>
          </p:nvSpPr>
          <p:spPr bwMode="gray">
            <a:xfrm>
              <a:off x="3587488" y="3393081"/>
              <a:ext cx="1167081" cy="1521541"/>
            </a:xfrm>
            <a:custGeom>
              <a:avLst/>
              <a:gdLst>
                <a:gd name="T0" fmla="*/ 1471 w 1522"/>
                <a:gd name="T1" fmla="*/ 1363 h 1984"/>
                <a:gd name="T2" fmla="*/ 1435 w 1522"/>
                <a:gd name="T3" fmla="*/ 1244 h 1984"/>
                <a:gd name="T4" fmla="*/ 1435 w 1522"/>
                <a:gd name="T5" fmla="*/ 1068 h 1984"/>
                <a:gd name="T6" fmla="*/ 1356 w 1522"/>
                <a:gd name="T7" fmla="*/ 884 h 1984"/>
                <a:gd name="T8" fmla="*/ 1083 w 1522"/>
                <a:gd name="T9" fmla="*/ 863 h 1984"/>
                <a:gd name="T10" fmla="*/ 1178 w 1522"/>
                <a:gd name="T11" fmla="*/ 814 h 1984"/>
                <a:gd name="T12" fmla="*/ 1151 w 1522"/>
                <a:gd name="T13" fmla="*/ 765 h 1984"/>
                <a:gd name="T14" fmla="*/ 1300 w 1522"/>
                <a:gd name="T15" fmla="*/ 652 h 1984"/>
                <a:gd name="T16" fmla="*/ 1246 w 1522"/>
                <a:gd name="T17" fmla="*/ 376 h 1984"/>
                <a:gd name="T18" fmla="*/ 1318 w 1522"/>
                <a:gd name="T19" fmla="*/ 246 h 1984"/>
                <a:gd name="T20" fmla="*/ 1218 w 1522"/>
                <a:gd name="T21" fmla="*/ 90 h 1984"/>
                <a:gd name="T22" fmla="*/ 1143 w 1522"/>
                <a:gd name="T23" fmla="*/ 0 h 1984"/>
                <a:gd name="T24" fmla="*/ 1091 w 1522"/>
                <a:gd name="T25" fmla="*/ 84 h 1984"/>
                <a:gd name="T26" fmla="*/ 1016 w 1522"/>
                <a:gd name="T27" fmla="*/ 154 h 1984"/>
                <a:gd name="T28" fmla="*/ 846 w 1522"/>
                <a:gd name="T29" fmla="*/ 265 h 1984"/>
                <a:gd name="T30" fmla="*/ 724 w 1522"/>
                <a:gd name="T31" fmla="*/ 265 h 1984"/>
                <a:gd name="T32" fmla="*/ 532 w 1522"/>
                <a:gd name="T33" fmla="*/ 441 h 1984"/>
                <a:gd name="T34" fmla="*/ 429 w 1522"/>
                <a:gd name="T35" fmla="*/ 422 h 1984"/>
                <a:gd name="T36" fmla="*/ 408 w 1522"/>
                <a:gd name="T37" fmla="*/ 549 h 1984"/>
                <a:gd name="T38" fmla="*/ 205 w 1522"/>
                <a:gd name="T39" fmla="*/ 499 h 1984"/>
                <a:gd name="T40" fmla="*/ 178 w 1522"/>
                <a:gd name="T41" fmla="*/ 513 h 1984"/>
                <a:gd name="T42" fmla="*/ 53 w 1522"/>
                <a:gd name="T43" fmla="*/ 648 h 1984"/>
                <a:gd name="T44" fmla="*/ 145 w 1522"/>
                <a:gd name="T45" fmla="*/ 1056 h 1984"/>
                <a:gd name="T46" fmla="*/ 130 w 1522"/>
                <a:gd name="T47" fmla="*/ 1290 h 1984"/>
                <a:gd name="T48" fmla="*/ 270 w 1522"/>
                <a:gd name="T49" fmla="*/ 1354 h 1984"/>
                <a:gd name="T50" fmla="*/ 362 w 1522"/>
                <a:gd name="T51" fmla="*/ 1346 h 1984"/>
                <a:gd name="T52" fmla="*/ 589 w 1522"/>
                <a:gd name="T53" fmla="*/ 1268 h 1984"/>
                <a:gd name="T54" fmla="*/ 718 w 1522"/>
                <a:gd name="T55" fmla="*/ 1327 h 1984"/>
                <a:gd name="T56" fmla="*/ 694 w 1522"/>
                <a:gd name="T57" fmla="*/ 1471 h 1984"/>
                <a:gd name="T58" fmla="*/ 727 w 1522"/>
                <a:gd name="T59" fmla="*/ 1665 h 1984"/>
                <a:gd name="T60" fmla="*/ 756 w 1522"/>
                <a:gd name="T61" fmla="*/ 1766 h 1984"/>
                <a:gd name="T62" fmla="*/ 830 w 1522"/>
                <a:gd name="T63" fmla="*/ 1775 h 1984"/>
                <a:gd name="T64" fmla="*/ 1076 w 1522"/>
                <a:gd name="T65" fmla="*/ 1915 h 1984"/>
                <a:gd name="T66" fmla="*/ 1330 w 1522"/>
                <a:gd name="T67" fmla="*/ 1958 h 1984"/>
                <a:gd name="T68" fmla="*/ 1388 w 1522"/>
                <a:gd name="T69" fmla="*/ 1867 h 1984"/>
                <a:gd name="T70" fmla="*/ 1458 w 1522"/>
                <a:gd name="T71" fmla="*/ 1704 h 1984"/>
                <a:gd name="T72" fmla="*/ 1522 w 1522"/>
                <a:gd name="T73" fmla="*/ 1507 h 19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22" h="1984">
                  <a:moveTo>
                    <a:pt x="1490" y="1478"/>
                  </a:moveTo>
                  <a:cubicBezTo>
                    <a:pt x="1471" y="1363"/>
                    <a:pt x="1471" y="1363"/>
                    <a:pt x="1471" y="1363"/>
                  </a:cubicBezTo>
                  <a:cubicBezTo>
                    <a:pt x="1484" y="1362"/>
                    <a:pt x="1484" y="1362"/>
                    <a:pt x="1484" y="1362"/>
                  </a:cubicBezTo>
                  <a:cubicBezTo>
                    <a:pt x="1435" y="1244"/>
                    <a:pt x="1435" y="1244"/>
                    <a:pt x="1435" y="1244"/>
                  </a:cubicBezTo>
                  <a:cubicBezTo>
                    <a:pt x="1510" y="1171"/>
                    <a:pt x="1510" y="1171"/>
                    <a:pt x="1510" y="1171"/>
                  </a:cubicBezTo>
                  <a:cubicBezTo>
                    <a:pt x="1435" y="1068"/>
                    <a:pt x="1435" y="1068"/>
                    <a:pt x="1435" y="1068"/>
                  </a:cubicBezTo>
                  <a:cubicBezTo>
                    <a:pt x="1435" y="1068"/>
                    <a:pt x="1435" y="1019"/>
                    <a:pt x="1437" y="984"/>
                  </a:cubicBezTo>
                  <a:cubicBezTo>
                    <a:pt x="1440" y="949"/>
                    <a:pt x="1356" y="884"/>
                    <a:pt x="1356" y="884"/>
                  </a:cubicBezTo>
                  <a:cubicBezTo>
                    <a:pt x="1129" y="946"/>
                    <a:pt x="1129" y="946"/>
                    <a:pt x="1129" y="946"/>
                  </a:cubicBezTo>
                  <a:cubicBezTo>
                    <a:pt x="1083" y="863"/>
                    <a:pt x="1083" y="863"/>
                    <a:pt x="1083" y="863"/>
                  </a:cubicBezTo>
                  <a:cubicBezTo>
                    <a:pt x="1121" y="809"/>
                    <a:pt x="1121" y="809"/>
                    <a:pt x="1121" y="809"/>
                  </a:cubicBezTo>
                  <a:cubicBezTo>
                    <a:pt x="1178" y="814"/>
                    <a:pt x="1178" y="814"/>
                    <a:pt x="1178" y="814"/>
                  </a:cubicBezTo>
                  <a:cubicBezTo>
                    <a:pt x="1189" y="784"/>
                    <a:pt x="1189" y="784"/>
                    <a:pt x="1189" y="784"/>
                  </a:cubicBezTo>
                  <a:cubicBezTo>
                    <a:pt x="1151" y="765"/>
                    <a:pt x="1151" y="765"/>
                    <a:pt x="1151" y="765"/>
                  </a:cubicBezTo>
                  <a:cubicBezTo>
                    <a:pt x="1224" y="698"/>
                    <a:pt x="1224" y="698"/>
                    <a:pt x="1224" y="698"/>
                  </a:cubicBezTo>
                  <a:cubicBezTo>
                    <a:pt x="1224" y="698"/>
                    <a:pt x="1291" y="681"/>
                    <a:pt x="1300" y="652"/>
                  </a:cubicBezTo>
                  <a:cubicBezTo>
                    <a:pt x="1308" y="622"/>
                    <a:pt x="1246" y="576"/>
                    <a:pt x="1227" y="519"/>
                  </a:cubicBezTo>
                  <a:cubicBezTo>
                    <a:pt x="1208" y="463"/>
                    <a:pt x="1246" y="376"/>
                    <a:pt x="1246" y="376"/>
                  </a:cubicBezTo>
                  <a:cubicBezTo>
                    <a:pt x="1324" y="400"/>
                    <a:pt x="1324" y="400"/>
                    <a:pt x="1324" y="400"/>
                  </a:cubicBezTo>
                  <a:cubicBezTo>
                    <a:pt x="1318" y="246"/>
                    <a:pt x="1318" y="246"/>
                    <a:pt x="1318" y="246"/>
                  </a:cubicBezTo>
                  <a:cubicBezTo>
                    <a:pt x="1318" y="246"/>
                    <a:pt x="1259" y="230"/>
                    <a:pt x="1246" y="209"/>
                  </a:cubicBezTo>
                  <a:cubicBezTo>
                    <a:pt x="1232" y="187"/>
                    <a:pt x="1240" y="109"/>
                    <a:pt x="1218" y="90"/>
                  </a:cubicBezTo>
                  <a:cubicBezTo>
                    <a:pt x="1197" y="71"/>
                    <a:pt x="1151" y="52"/>
                    <a:pt x="1151" y="52"/>
                  </a:cubicBezTo>
                  <a:cubicBezTo>
                    <a:pt x="1143" y="0"/>
                    <a:pt x="1143" y="0"/>
                    <a:pt x="1143" y="0"/>
                  </a:cubicBezTo>
                  <a:cubicBezTo>
                    <a:pt x="1091" y="11"/>
                    <a:pt x="1091" y="11"/>
                    <a:pt x="1091" y="11"/>
                  </a:cubicBezTo>
                  <a:cubicBezTo>
                    <a:pt x="1091" y="84"/>
                    <a:pt x="1091" y="84"/>
                    <a:pt x="1091" y="84"/>
                  </a:cubicBezTo>
                  <a:cubicBezTo>
                    <a:pt x="1037" y="111"/>
                    <a:pt x="1037" y="111"/>
                    <a:pt x="1037" y="111"/>
                  </a:cubicBezTo>
                  <a:cubicBezTo>
                    <a:pt x="1016" y="154"/>
                    <a:pt x="1016" y="154"/>
                    <a:pt x="1016" y="154"/>
                  </a:cubicBezTo>
                  <a:cubicBezTo>
                    <a:pt x="848" y="198"/>
                    <a:pt x="848" y="198"/>
                    <a:pt x="848" y="198"/>
                  </a:cubicBezTo>
                  <a:cubicBezTo>
                    <a:pt x="846" y="265"/>
                    <a:pt x="846" y="265"/>
                    <a:pt x="846" y="265"/>
                  </a:cubicBezTo>
                  <a:cubicBezTo>
                    <a:pt x="786" y="290"/>
                    <a:pt x="786" y="290"/>
                    <a:pt x="786" y="290"/>
                  </a:cubicBezTo>
                  <a:cubicBezTo>
                    <a:pt x="724" y="265"/>
                    <a:pt x="724" y="265"/>
                    <a:pt x="724" y="265"/>
                  </a:cubicBezTo>
                  <a:cubicBezTo>
                    <a:pt x="543" y="354"/>
                    <a:pt x="543" y="354"/>
                    <a:pt x="543" y="354"/>
                  </a:cubicBezTo>
                  <a:cubicBezTo>
                    <a:pt x="532" y="441"/>
                    <a:pt x="532" y="441"/>
                    <a:pt x="532" y="441"/>
                  </a:cubicBezTo>
                  <a:cubicBezTo>
                    <a:pt x="464" y="409"/>
                    <a:pt x="464" y="409"/>
                    <a:pt x="464" y="409"/>
                  </a:cubicBezTo>
                  <a:cubicBezTo>
                    <a:pt x="429" y="422"/>
                    <a:pt x="429" y="422"/>
                    <a:pt x="429" y="422"/>
                  </a:cubicBezTo>
                  <a:cubicBezTo>
                    <a:pt x="448" y="549"/>
                    <a:pt x="448" y="549"/>
                    <a:pt x="448" y="549"/>
                  </a:cubicBezTo>
                  <a:cubicBezTo>
                    <a:pt x="408" y="549"/>
                    <a:pt x="408" y="549"/>
                    <a:pt x="408" y="549"/>
                  </a:cubicBezTo>
                  <a:cubicBezTo>
                    <a:pt x="340" y="503"/>
                    <a:pt x="340" y="503"/>
                    <a:pt x="340" y="503"/>
                  </a:cubicBezTo>
                  <a:cubicBezTo>
                    <a:pt x="205" y="499"/>
                    <a:pt x="205" y="499"/>
                    <a:pt x="205" y="499"/>
                  </a:cubicBezTo>
                  <a:cubicBezTo>
                    <a:pt x="206" y="514"/>
                    <a:pt x="206" y="514"/>
                    <a:pt x="206" y="514"/>
                  </a:cubicBezTo>
                  <a:cubicBezTo>
                    <a:pt x="178" y="513"/>
                    <a:pt x="178" y="513"/>
                    <a:pt x="178" y="513"/>
                  </a:cubicBezTo>
                  <a:cubicBezTo>
                    <a:pt x="183" y="542"/>
                    <a:pt x="184" y="567"/>
                    <a:pt x="180" y="575"/>
                  </a:cubicBezTo>
                  <a:cubicBezTo>
                    <a:pt x="165" y="599"/>
                    <a:pt x="81" y="621"/>
                    <a:pt x="53" y="648"/>
                  </a:cubicBezTo>
                  <a:cubicBezTo>
                    <a:pt x="13" y="686"/>
                    <a:pt x="0" y="763"/>
                    <a:pt x="0" y="817"/>
                  </a:cubicBezTo>
                  <a:cubicBezTo>
                    <a:pt x="0" y="899"/>
                    <a:pt x="60" y="1063"/>
                    <a:pt x="145" y="1056"/>
                  </a:cubicBezTo>
                  <a:cubicBezTo>
                    <a:pt x="172" y="1118"/>
                    <a:pt x="251" y="1065"/>
                    <a:pt x="221" y="1184"/>
                  </a:cubicBezTo>
                  <a:cubicBezTo>
                    <a:pt x="218" y="1198"/>
                    <a:pt x="148" y="1274"/>
                    <a:pt x="130" y="1290"/>
                  </a:cubicBezTo>
                  <a:cubicBezTo>
                    <a:pt x="119" y="1301"/>
                    <a:pt x="116" y="1312"/>
                    <a:pt x="116" y="1324"/>
                  </a:cubicBezTo>
                  <a:cubicBezTo>
                    <a:pt x="167" y="1335"/>
                    <a:pt x="259" y="1350"/>
                    <a:pt x="270" y="1354"/>
                  </a:cubicBezTo>
                  <a:cubicBezTo>
                    <a:pt x="291" y="1363"/>
                    <a:pt x="329" y="1338"/>
                    <a:pt x="329" y="1338"/>
                  </a:cubicBezTo>
                  <a:cubicBezTo>
                    <a:pt x="362" y="1346"/>
                    <a:pt x="362" y="1346"/>
                    <a:pt x="362" y="1346"/>
                  </a:cubicBezTo>
                  <a:cubicBezTo>
                    <a:pt x="524" y="1254"/>
                    <a:pt x="524" y="1254"/>
                    <a:pt x="524" y="1254"/>
                  </a:cubicBezTo>
                  <a:cubicBezTo>
                    <a:pt x="589" y="1268"/>
                    <a:pt x="589" y="1268"/>
                    <a:pt x="589" y="1268"/>
                  </a:cubicBezTo>
                  <a:cubicBezTo>
                    <a:pt x="640" y="1303"/>
                    <a:pt x="640" y="1303"/>
                    <a:pt x="640" y="1303"/>
                  </a:cubicBezTo>
                  <a:cubicBezTo>
                    <a:pt x="718" y="1327"/>
                    <a:pt x="718" y="1327"/>
                    <a:pt x="718" y="1327"/>
                  </a:cubicBezTo>
                  <a:cubicBezTo>
                    <a:pt x="737" y="1433"/>
                    <a:pt x="737" y="1433"/>
                    <a:pt x="737" y="1433"/>
                  </a:cubicBezTo>
                  <a:cubicBezTo>
                    <a:pt x="694" y="1471"/>
                    <a:pt x="694" y="1471"/>
                    <a:pt x="694" y="1471"/>
                  </a:cubicBezTo>
                  <a:cubicBezTo>
                    <a:pt x="694" y="1471"/>
                    <a:pt x="791" y="1522"/>
                    <a:pt x="791" y="1565"/>
                  </a:cubicBezTo>
                  <a:cubicBezTo>
                    <a:pt x="791" y="1609"/>
                    <a:pt x="727" y="1665"/>
                    <a:pt x="727" y="1665"/>
                  </a:cubicBezTo>
                  <a:cubicBezTo>
                    <a:pt x="727" y="1714"/>
                    <a:pt x="727" y="1714"/>
                    <a:pt x="727" y="1714"/>
                  </a:cubicBezTo>
                  <a:cubicBezTo>
                    <a:pt x="756" y="1766"/>
                    <a:pt x="756" y="1766"/>
                    <a:pt x="756" y="1766"/>
                  </a:cubicBezTo>
                  <a:cubicBezTo>
                    <a:pt x="759" y="1763"/>
                    <a:pt x="764" y="1761"/>
                    <a:pt x="774" y="1760"/>
                  </a:cubicBezTo>
                  <a:cubicBezTo>
                    <a:pt x="798" y="1759"/>
                    <a:pt x="808" y="1775"/>
                    <a:pt x="830" y="1775"/>
                  </a:cubicBezTo>
                  <a:cubicBezTo>
                    <a:pt x="804" y="1775"/>
                    <a:pt x="862" y="1847"/>
                    <a:pt x="876" y="1853"/>
                  </a:cubicBezTo>
                  <a:cubicBezTo>
                    <a:pt x="913" y="1867"/>
                    <a:pt x="1053" y="1940"/>
                    <a:pt x="1076" y="1915"/>
                  </a:cubicBezTo>
                  <a:cubicBezTo>
                    <a:pt x="1114" y="1871"/>
                    <a:pt x="1229" y="1960"/>
                    <a:pt x="1289" y="1984"/>
                  </a:cubicBezTo>
                  <a:cubicBezTo>
                    <a:pt x="1330" y="1958"/>
                    <a:pt x="1330" y="1958"/>
                    <a:pt x="1330" y="1958"/>
                  </a:cubicBezTo>
                  <a:cubicBezTo>
                    <a:pt x="1371" y="1925"/>
                    <a:pt x="1371" y="1925"/>
                    <a:pt x="1371" y="1925"/>
                  </a:cubicBezTo>
                  <a:cubicBezTo>
                    <a:pt x="1388" y="1867"/>
                    <a:pt x="1388" y="1867"/>
                    <a:pt x="1388" y="1867"/>
                  </a:cubicBezTo>
                  <a:cubicBezTo>
                    <a:pt x="1415" y="1846"/>
                    <a:pt x="1415" y="1846"/>
                    <a:pt x="1415" y="1846"/>
                  </a:cubicBezTo>
                  <a:cubicBezTo>
                    <a:pt x="1458" y="1704"/>
                    <a:pt x="1458" y="1704"/>
                    <a:pt x="1458" y="1704"/>
                  </a:cubicBezTo>
                  <a:cubicBezTo>
                    <a:pt x="1508" y="1648"/>
                    <a:pt x="1508" y="1648"/>
                    <a:pt x="1508" y="1648"/>
                  </a:cubicBezTo>
                  <a:cubicBezTo>
                    <a:pt x="1522" y="1507"/>
                    <a:pt x="1522" y="1507"/>
                    <a:pt x="1522" y="1507"/>
                  </a:cubicBezTo>
                  <a:lnTo>
                    <a:pt x="1490" y="1478"/>
                  </a:lnTo>
                  <a:close/>
                </a:path>
              </a:pathLst>
            </a:custGeom>
            <a:solidFill>
              <a:schemeClr val="accent6"/>
            </a:solidFill>
            <a:ln w="6350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 dirty="0">
                <a:solidFill>
                  <a:schemeClr val="bg1"/>
                </a:solidFill>
              </a:endParaRPr>
            </a:p>
          </p:txBody>
        </p:sp>
        <p:sp>
          <p:nvSpPr>
            <p:cNvPr id="49" name="Bremen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4837858" y="1632788"/>
              <a:ext cx="230226" cy="175310"/>
            </a:xfrm>
            <a:custGeom>
              <a:avLst/>
              <a:gdLst>
                <a:gd name="T0" fmla="*/ 0 w 302"/>
                <a:gd name="T1" fmla="*/ 0 h 229"/>
                <a:gd name="T2" fmla="*/ 74 w 302"/>
                <a:gd name="T3" fmla="*/ 10 h 229"/>
                <a:gd name="T4" fmla="*/ 80 w 302"/>
                <a:gd name="T5" fmla="*/ 41 h 229"/>
                <a:gd name="T6" fmla="*/ 130 w 302"/>
                <a:gd name="T7" fmla="*/ 41 h 229"/>
                <a:gd name="T8" fmla="*/ 146 w 302"/>
                <a:gd name="T9" fmla="*/ 76 h 229"/>
                <a:gd name="T10" fmla="*/ 193 w 302"/>
                <a:gd name="T11" fmla="*/ 78 h 229"/>
                <a:gd name="T12" fmla="*/ 220 w 302"/>
                <a:gd name="T13" fmla="*/ 121 h 229"/>
                <a:gd name="T14" fmla="*/ 295 w 302"/>
                <a:gd name="T15" fmla="*/ 86 h 229"/>
                <a:gd name="T16" fmla="*/ 277 w 302"/>
                <a:gd name="T17" fmla="*/ 141 h 229"/>
                <a:gd name="T18" fmla="*/ 289 w 302"/>
                <a:gd name="T19" fmla="*/ 194 h 229"/>
                <a:gd name="T20" fmla="*/ 252 w 302"/>
                <a:gd name="T21" fmla="*/ 229 h 229"/>
                <a:gd name="T22" fmla="*/ 162 w 302"/>
                <a:gd name="T23" fmla="*/ 194 h 229"/>
                <a:gd name="T24" fmla="*/ 121 w 302"/>
                <a:gd name="T25" fmla="*/ 194 h 229"/>
                <a:gd name="T26" fmla="*/ 109 w 302"/>
                <a:gd name="T27" fmla="*/ 153 h 229"/>
                <a:gd name="T28" fmla="*/ 48 w 302"/>
                <a:gd name="T29" fmla="*/ 57 h 229"/>
                <a:gd name="T30" fmla="*/ 19 w 302"/>
                <a:gd name="T31" fmla="*/ 51 h 229"/>
                <a:gd name="T32" fmla="*/ 0 w 302"/>
                <a:gd name="T33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2" h="229">
                  <a:moveTo>
                    <a:pt x="0" y="0"/>
                  </a:moveTo>
                  <a:cubicBezTo>
                    <a:pt x="74" y="10"/>
                    <a:pt x="74" y="10"/>
                    <a:pt x="74" y="10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46" y="76"/>
                    <a:pt x="146" y="76"/>
                    <a:pt x="146" y="76"/>
                  </a:cubicBezTo>
                  <a:cubicBezTo>
                    <a:pt x="193" y="78"/>
                    <a:pt x="193" y="78"/>
                    <a:pt x="193" y="78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1"/>
                    <a:pt x="287" y="65"/>
                    <a:pt x="295" y="86"/>
                  </a:cubicBezTo>
                  <a:cubicBezTo>
                    <a:pt x="302" y="108"/>
                    <a:pt x="277" y="141"/>
                    <a:pt x="277" y="141"/>
                  </a:cubicBezTo>
                  <a:cubicBezTo>
                    <a:pt x="289" y="194"/>
                    <a:pt x="289" y="194"/>
                    <a:pt x="289" y="19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162" y="194"/>
                    <a:pt x="162" y="194"/>
                    <a:pt x="162" y="194"/>
                  </a:cubicBezTo>
                  <a:cubicBezTo>
                    <a:pt x="121" y="194"/>
                    <a:pt x="121" y="194"/>
                    <a:pt x="121" y="194"/>
                  </a:cubicBezTo>
                  <a:cubicBezTo>
                    <a:pt x="109" y="153"/>
                    <a:pt x="109" y="153"/>
                    <a:pt x="109" y="153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19" y="51"/>
                    <a:pt x="19" y="51"/>
                    <a:pt x="19" y="5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 w="6350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 dirty="0">
                <a:solidFill>
                  <a:schemeClr val="bg1"/>
                </a:solidFill>
              </a:endParaRPr>
            </a:p>
          </p:txBody>
        </p:sp>
        <p:pic>
          <p:nvPicPr>
            <p:cNvPr id="10" name="Bild 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395662" y="932536"/>
              <a:ext cx="125361" cy="207863"/>
            </a:xfrm>
            <a:prstGeom prst="rect">
              <a:avLst/>
            </a:prstGeom>
          </p:spPr>
        </p:pic>
        <p:pic>
          <p:nvPicPr>
            <p:cNvPr id="50" name="Bild 4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687020" y="825508"/>
              <a:ext cx="125361" cy="207863"/>
            </a:xfrm>
            <a:prstGeom prst="rect">
              <a:avLst/>
            </a:prstGeom>
          </p:spPr>
        </p:pic>
        <p:pic>
          <p:nvPicPr>
            <p:cNvPr id="51" name="Bild 5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760564" y="646956"/>
              <a:ext cx="125361" cy="207863"/>
            </a:xfrm>
            <a:prstGeom prst="rect">
              <a:avLst/>
            </a:prstGeom>
          </p:spPr>
        </p:pic>
        <p:pic>
          <p:nvPicPr>
            <p:cNvPr id="52" name="Bild 5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320962" y="476636"/>
              <a:ext cx="125361" cy="207863"/>
            </a:xfrm>
            <a:prstGeom prst="rect">
              <a:avLst/>
            </a:prstGeom>
          </p:spPr>
        </p:pic>
        <p:pic>
          <p:nvPicPr>
            <p:cNvPr id="53" name="Bild 5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356663" y="522064"/>
              <a:ext cx="125361" cy="207863"/>
            </a:xfrm>
            <a:prstGeom prst="rect">
              <a:avLst/>
            </a:prstGeom>
          </p:spPr>
        </p:pic>
        <p:pic>
          <p:nvPicPr>
            <p:cNvPr id="54" name="Bild 5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933103" y="236914"/>
              <a:ext cx="125361" cy="207863"/>
            </a:xfrm>
            <a:prstGeom prst="rect">
              <a:avLst/>
            </a:prstGeom>
          </p:spPr>
        </p:pic>
        <p:pic>
          <p:nvPicPr>
            <p:cNvPr id="55" name="Bild 5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64808" y="444353"/>
              <a:ext cx="125361" cy="207863"/>
            </a:xfrm>
            <a:prstGeom prst="rect">
              <a:avLst/>
            </a:prstGeom>
          </p:spPr>
        </p:pic>
        <p:pic>
          <p:nvPicPr>
            <p:cNvPr id="56" name="Bild 5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995783" y="664765"/>
              <a:ext cx="125361" cy="207863"/>
            </a:xfrm>
            <a:prstGeom prst="rect">
              <a:avLst/>
            </a:prstGeom>
          </p:spPr>
        </p:pic>
        <p:pic>
          <p:nvPicPr>
            <p:cNvPr id="57" name="Bild 5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170394" y="684388"/>
              <a:ext cx="125361" cy="207863"/>
            </a:xfrm>
            <a:prstGeom prst="rect">
              <a:avLst/>
            </a:prstGeom>
          </p:spPr>
        </p:pic>
        <p:pic>
          <p:nvPicPr>
            <p:cNvPr id="58" name="Bild 5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206677" y="738479"/>
              <a:ext cx="125361" cy="207863"/>
            </a:xfrm>
            <a:prstGeom prst="rect">
              <a:avLst/>
            </a:prstGeom>
          </p:spPr>
        </p:pic>
        <p:pic>
          <p:nvPicPr>
            <p:cNvPr id="59" name="Bild 5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136983" y="844571"/>
              <a:ext cx="125361" cy="207863"/>
            </a:xfrm>
            <a:prstGeom prst="rect">
              <a:avLst/>
            </a:prstGeom>
          </p:spPr>
        </p:pic>
        <p:pic>
          <p:nvPicPr>
            <p:cNvPr id="60" name="Bild 5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957869" y="1049872"/>
              <a:ext cx="125361" cy="207863"/>
            </a:xfrm>
            <a:prstGeom prst="rect">
              <a:avLst/>
            </a:prstGeom>
          </p:spPr>
        </p:pic>
        <p:pic>
          <p:nvPicPr>
            <p:cNvPr id="61" name="Bild 6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188834" y="1200406"/>
              <a:ext cx="125361" cy="207863"/>
            </a:xfrm>
            <a:prstGeom prst="rect">
              <a:avLst/>
            </a:prstGeom>
          </p:spPr>
        </p:pic>
        <p:pic>
          <p:nvPicPr>
            <p:cNvPr id="62" name="Bild 6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347255" y="1330148"/>
              <a:ext cx="125361" cy="207863"/>
            </a:xfrm>
            <a:prstGeom prst="rect">
              <a:avLst/>
            </a:prstGeom>
          </p:spPr>
        </p:pic>
        <p:pic>
          <p:nvPicPr>
            <p:cNvPr id="63" name="Bild 6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7246" y="1341227"/>
              <a:ext cx="125361" cy="207863"/>
            </a:xfrm>
            <a:prstGeom prst="rect">
              <a:avLst/>
            </a:prstGeom>
          </p:spPr>
        </p:pic>
        <p:pic>
          <p:nvPicPr>
            <p:cNvPr id="64" name="Bild 6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831432" y="1245467"/>
              <a:ext cx="125361" cy="207863"/>
            </a:xfrm>
            <a:prstGeom prst="rect">
              <a:avLst/>
            </a:prstGeom>
          </p:spPr>
        </p:pic>
        <p:pic>
          <p:nvPicPr>
            <p:cNvPr id="65" name="Bild 6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653616" y="1296211"/>
              <a:ext cx="125361" cy="207863"/>
            </a:xfrm>
            <a:prstGeom prst="rect">
              <a:avLst/>
            </a:prstGeom>
          </p:spPr>
        </p:pic>
        <p:pic>
          <p:nvPicPr>
            <p:cNvPr id="66" name="Bild 6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384144" y="1262317"/>
              <a:ext cx="125361" cy="207863"/>
            </a:xfrm>
            <a:prstGeom prst="rect">
              <a:avLst/>
            </a:prstGeom>
          </p:spPr>
        </p:pic>
        <p:pic>
          <p:nvPicPr>
            <p:cNvPr id="67" name="Bild 6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171960" y="1189997"/>
              <a:ext cx="125361" cy="207863"/>
            </a:xfrm>
            <a:prstGeom prst="rect">
              <a:avLst/>
            </a:prstGeom>
          </p:spPr>
        </p:pic>
        <p:pic>
          <p:nvPicPr>
            <p:cNvPr id="68" name="Bild 6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607042" y="1614578"/>
              <a:ext cx="125361" cy="207863"/>
            </a:xfrm>
            <a:prstGeom prst="rect">
              <a:avLst/>
            </a:prstGeom>
          </p:spPr>
        </p:pic>
        <p:pic>
          <p:nvPicPr>
            <p:cNvPr id="69" name="Bild 6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835682" y="1592861"/>
              <a:ext cx="125361" cy="207863"/>
            </a:xfrm>
            <a:prstGeom prst="rect">
              <a:avLst/>
            </a:prstGeom>
          </p:spPr>
        </p:pic>
        <p:pic>
          <p:nvPicPr>
            <p:cNvPr id="70" name="Bild 6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868628" y="1630022"/>
              <a:ext cx="125361" cy="207863"/>
            </a:xfrm>
            <a:prstGeom prst="rect">
              <a:avLst/>
            </a:prstGeom>
          </p:spPr>
        </p:pic>
        <p:pic>
          <p:nvPicPr>
            <p:cNvPr id="71" name="Bild 7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920472" y="1713944"/>
              <a:ext cx="125361" cy="207863"/>
            </a:xfrm>
            <a:prstGeom prst="rect">
              <a:avLst/>
            </a:prstGeom>
          </p:spPr>
        </p:pic>
        <p:pic>
          <p:nvPicPr>
            <p:cNvPr id="72" name="Bild 7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806658" y="1775522"/>
              <a:ext cx="125361" cy="207863"/>
            </a:xfrm>
            <a:prstGeom prst="rect">
              <a:avLst/>
            </a:prstGeom>
          </p:spPr>
        </p:pic>
        <p:pic>
          <p:nvPicPr>
            <p:cNvPr id="73" name="Bild 7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220536" y="1600235"/>
              <a:ext cx="125361" cy="207863"/>
            </a:xfrm>
            <a:prstGeom prst="rect">
              <a:avLst/>
            </a:prstGeom>
          </p:spPr>
        </p:pic>
        <p:pic>
          <p:nvPicPr>
            <p:cNvPr id="74" name="Bild 7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320962" y="1555546"/>
              <a:ext cx="125361" cy="207863"/>
            </a:xfrm>
            <a:prstGeom prst="rect">
              <a:avLst/>
            </a:prstGeom>
          </p:spPr>
        </p:pic>
        <p:pic>
          <p:nvPicPr>
            <p:cNvPr id="75" name="Bild 7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659892" y="1620348"/>
              <a:ext cx="125361" cy="207863"/>
            </a:xfrm>
            <a:prstGeom prst="rect">
              <a:avLst/>
            </a:prstGeom>
          </p:spPr>
        </p:pic>
        <p:pic>
          <p:nvPicPr>
            <p:cNvPr id="76" name="Bild 7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581219" y="1397860"/>
              <a:ext cx="125361" cy="207863"/>
            </a:xfrm>
            <a:prstGeom prst="rect">
              <a:avLst/>
            </a:prstGeom>
          </p:spPr>
        </p:pic>
        <p:pic>
          <p:nvPicPr>
            <p:cNvPr id="77" name="Bild 7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917954" y="1585739"/>
              <a:ext cx="125361" cy="207863"/>
            </a:xfrm>
            <a:prstGeom prst="rect">
              <a:avLst/>
            </a:prstGeom>
          </p:spPr>
        </p:pic>
        <p:pic>
          <p:nvPicPr>
            <p:cNvPr id="78" name="Bild 7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073972" y="2102739"/>
              <a:ext cx="125361" cy="207863"/>
            </a:xfrm>
            <a:prstGeom prst="rect">
              <a:avLst/>
            </a:prstGeom>
          </p:spPr>
        </p:pic>
        <p:pic>
          <p:nvPicPr>
            <p:cNvPr id="79" name="Bild 7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395661" y="1925587"/>
              <a:ext cx="125361" cy="207863"/>
            </a:xfrm>
            <a:prstGeom prst="rect">
              <a:avLst/>
            </a:prstGeom>
          </p:spPr>
        </p:pic>
        <p:pic>
          <p:nvPicPr>
            <p:cNvPr id="80" name="Bild 7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276652" y="1862378"/>
              <a:ext cx="125361" cy="207863"/>
            </a:xfrm>
            <a:prstGeom prst="rect">
              <a:avLst/>
            </a:prstGeom>
          </p:spPr>
        </p:pic>
        <p:pic>
          <p:nvPicPr>
            <p:cNvPr id="81" name="Bild 8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779075" y="1848845"/>
              <a:ext cx="125361" cy="207863"/>
            </a:xfrm>
            <a:prstGeom prst="rect">
              <a:avLst/>
            </a:prstGeom>
          </p:spPr>
        </p:pic>
        <p:pic>
          <p:nvPicPr>
            <p:cNvPr id="83" name="Bild 8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395755" y="1758446"/>
              <a:ext cx="125361" cy="207863"/>
            </a:xfrm>
            <a:prstGeom prst="rect">
              <a:avLst/>
            </a:prstGeom>
          </p:spPr>
        </p:pic>
        <p:pic>
          <p:nvPicPr>
            <p:cNvPr id="82" name="Bild 8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46888" y="1855406"/>
              <a:ext cx="125361" cy="207863"/>
            </a:xfrm>
            <a:prstGeom prst="rect">
              <a:avLst/>
            </a:prstGeom>
          </p:spPr>
        </p:pic>
        <p:pic>
          <p:nvPicPr>
            <p:cNvPr id="84" name="Bild 8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146220" y="1918616"/>
              <a:ext cx="125361" cy="207863"/>
            </a:xfrm>
            <a:prstGeom prst="rect">
              <a:avLst/>
            </a:prstGeom>
          </p:spPr>
        </p:pic>
        <p:pic>
          <p:nvPicPr>
            <p:cNvPr id="85" name="Bild 8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435515" y="1885041"/>
              <a:ext cx="125361" cy="207863"/>
            </a:xfrm>
            <a:prstGeom prst="rect">
              <a:avLst/>
            </a:prstGeom>
          </p:spPr>
        </p:pic>
        <p:pic>
          <p:nvPicPr>
            <p:cNvPr id="86" name="Bild 8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544687" y="1968487"/>
              <a:ext cx="125361" cy="207863"/>
            </a:xfrm>
            <a:prstGeom prst="rect">
              <a:avLst/>
            </a:prstGeom>
          </p:spPr>
        </p:pic>
        <p:pic>
          <p:nvPicPr>
            <p:cNvPr id="87" name="Bild 8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866899" y="1958183"/>
              <a:ext cx="125361" cy="207863"/>
            </a:xfrm>
            <a:prstGeom prst="rect">
              <a:avLst/>
            </a:prstGeom>
          </p:spPr>
        </p:pic>
        <p:pic>
          <p:nvPicPr>
            <p:cNvPr id="88" name="Bild 8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05403" y="1933474"/>
              <a:ext cx="125361" cy="207863"/>
            </a:xfrm>
            <a:prstGeom prst="rect">
              <a:avLst/>
            </a:prstGeom>
          </p:spPr>
        </p:pic>
        <p:pic>
          <p:nvPicPr>
            <p:cNvPr id="89" name="Bild 8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191976" y="1955415"/>
              <a:ext cx="125361" cy="207863"/>
            </a:xfrm>
            <a:prstGeom prst="rect">
              <a:avLst/>
            </a:prstGeom>
          </p:spPr>
        </p:pic>
        <p:pic>
          <p:nvPicPr>
            <p:cNvPr id="90" name="Bild 8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229967" y="2051686"/>
              <a:ext cx="125361" cy="207863"/>
            </a:xfrm>
            <a:prstGeom prst="rect">
              <a:avLst/>
            </a:prstGeom>
          </p:spPr>
        </p:pic>
        <p:pic>
          <p:nvPicPr>
            <p:cNvPr id="91" name="Bild 9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01679" y="2081247"/>
              <a:ext cx="125361" cy="207863"/>
            </a:xfrm>
            <a:prstGeom prst="rect">
              <a:avLst/>
            </a:prstGeom>
          </p:spPr>
        </p:pic>
        <p:pic>
          <p:nvPicPr>
            <p:cNvPr id="92" name="Bild 9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664376" y="1975270"/>
              <a:ext cx="125361" cy="207863"/>
            </a:xfrm>
            <a:prstGeom prst="rect">
              <a:avLst/>
            </a:prstGeom>
          </p:spPr>
        </p:pic>
        <p:pic>
          <p:nvPicPr>
            <p:cNvPr id="93" name="Bild 9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782258" y="2139109"/>
              <a:ext cx="125361" cy="207863"/>
            </a:xfrm>
            <a:prstGeom prst="rect">
              <a:avLst/>
            </a:prstGeom>
          </p:spPr>
        </p:pic>
        <p:pic>
          <p:nvPicPr>
            <p:cNvPr id="94" name="Bild 9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081811" y="2109797"/>
              <a:ext cx="125361" cy="207863"/>
            </a:xfrm>
            <a:prstGeom prst="rect">
              <a:avLst/>
            </a:prstGeom>
          </p:spPr>
        </p:pic>
        <p:pic>
          <p:nvPicPr>
            <p:cNvPr id="95" name="Bild 9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103597" y="2169760"/>
              <a:ext cx="125361" cy="207863"/>
            </a:xfrm>
            <a:prstGeom prst="rect">
              <a:avLst/>
            </a:prstGeom>
          </p:spPr>
        </p:pic>
        <p:pic>
          <p:nvPicPr>
            <p:cNvPr id="96" name="Bild 9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393607" y="2386843"/>
              <a:ext cx="125361" cy="207863"/>
            </a:xfrm>
            <a:prstGeom prst="rect">
              <a:avLst/>
            </a:prstGeom>
          </p:spPr>
        </p:pic>
        <p:pic>
          <p:nvPicPr>
            <p:cNvPr id="97" name="Bild 9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540810" y="2350650"/>
              <a:ext cx="125361" cy="207863"/>
            </a:xfrm>
            <a:prstGeom prst="rect">
              <a:avLst/>
            </a:prstGeom>
          </p:spPr>
        </p:pic>
        <p:pic>
          <p:nvPicPr>
            <p:cNvPr id="98" name="Bild 9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104606" y="2325305"/>
              <a:ext cx="125361" cy="207863"/>
            </a:xfrm>
            <a:prstGeom prst="rect">
              <a:avLst/>
            </a:prstGeom>
          </p:spPr>
        </p:pic>
        <p:pic>
          <p:nvPicPr>
            <p:cNvPr id="99" name="Bild 9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736428" y="2248977"/>
              <a:ext cx="125361" cy="207863"/>
            </a:xfrm>
            <a:prstGeom prst="rect">
              <a:avLst/>
            </a:prstGeom>
          </p:spPr>
        </p:pic>
        <p:pic>
          <p:nvPicPr>
            <p:cNvPr id="100" name="Bild 9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801182" y="2341693"/>
              <a:ext cx="125361" cy="207863"/>
            </a:xfrm>
            <a:prstGeom prst="rect">
              <a:avLst/>
            </a:prstGeom>
          </p:spPr>
        </p:pic>
        <p:pic>
          <p:nvPicPr>
            <p:cNvPr id="101" name="Bild 10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225322" y="2206670"/>
              <a:ext cx="125361" cy="207863"/>
            </a:xfrm>
            <a:prstGeom prst="rect">
              <a:avLst/>
            </a:prstGeom>
          </p:spPr>
        </p:pic>
        <p:pic>
          <p:nvPicPr>
            <p:cNvPr id="102" name="Bild 10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943602" y="2268697"/>
              <a:ext cx="125361" cy="207863"/>
            </a:xfrm>
            <a:prstGeom prst="rect">
              <a:avLst/>
            </a:prstGeom>
          </p:spPr>
        </p:pic>
        <p:pic>
          <p:nvPicPr>
            <p:cNvPr id="103" name="Bild 10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086765" y="2386843"/>
              <a:ext cx="125361" cy="207863"/>
            </a:xfrm>
            <a:prstGeom prst="rect">
              <a:avLst/>
            </a:prstGeom>
          </p:spPr>
        </p:pic>
        <p:pic>
          <p:nvPicPr>
            <p:cNvPr id="104" name="Bild 10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870934" y="2434879"/>
              <a:ext cx="125361" cy="207863"/>
            </a:xfrm>
            <a:prstGeom prst="rect">
              <a:avLst/>
            </a:prstGeom>
          </p:spPr>
        </p:pic>
        <p:pic>
          <p:nvPicPr>
            <p:cNvPr id="105" name="Bild 10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171028" y="2508239"/>
              <a:ext cx="125361" cy="207863"/>
            </a:xfrm>
            <a:prstGeom prst="rect">
              <a:avLst/>
            </a:prstGeom>
          </p:spPr>
        </p:pic>
        <p:pic>
          <p:nvPicPr>
            <p:cNvPr id="106" name="Bild 10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292344" y="2418522"/>
              <a:ext cx="125361" cy="207863"/>
            </a:xfrm>
            <a:prstGeom prst="rect">
              <a:avLst/>
            </a:prstGeom>
          </p:spPr>
        </p:pic>
        <p:pic>
          <p:nvPicPr>
            <p:cNvPr id="107" name="Bild 10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405546" y="2386843"/>
              <a:ext cx="125361" cy="207863"/>
            </a:xfrm>
            <a:prstGeom prst="rect">
              <a:avLst/>
            </a:prstGeom>
          </p:spPr>
        </p:pic>
        <p:pic>
          <p:nvPicPr>
            <p:cNvPr id="108" name="Bild 10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556411" y="2411587"/>
              <a:ext cx="125361" cy="207863"/>
            </a:xfrm>
            <a:prstGeom prst="rect">
              <a:avLst/>
            </a:prstGeom>
          </p:spPr>
        </p:pic>
        <p:pic>
          <p:nvPicPr>
            <p:cNvPr id="109" name="Bild 10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756883" y="2562034"/>
              <a:ext cx="125361" cy="207863"/>
            </a:xfrm>
            <a:prstGeom prst="rect">
              <a:avLst/>
            </a:prstGeom>
          </p:spPr>
        </p:pic>
        <p:pic>
          <p:nvPicPr>
            <p:cNvPr id="110" name="Bild 10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991092" y="2565785"/>
              <a:ext cx="125361" cy="207863"/>
            </a:xfrm>
            <a:prstGeom prst="rect">
              <a:avLst/>
            </a:prstGeom>
          </p:spPr>
        </p:pic>
        <p:pic>
          <p:nvPicPr>
            <p:cNvPr id="111" name="Bild 11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34950" y="2581525"/>
              <a:ext cx="125361" cy="207863"/>
            </a:xfrm>
            <a:prstGeom prst="rect">
              <a:avLst/>
            </a:prstGeom>
          </p:spPr>
        </p:pic>
        <p:pic>
          <p:nvPicPr>
            <p:cNvPr id="112" name="Bild 11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153975" y="2617715"/>
              <a:ext cx="125361" cy="207863"/>
            </a:xfrm>
            <a:prstGeom prst="rect">
              <a:avLst/>
            </a:prstGeom>
          </p:spPr>
        </p:pic>
        <p:pic>
          <p:nvPicPr>
            <p:cNvPr id="113" name="Bild 11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060721" y="2624479"/>
              <a:ext cx="125361" cy="207863"/>
            </a:xfrm>
            <a:prstGeom prst="rect">
              <a:avLst/>
            </a:prstGeom>
          </p:spPr>
        </p:pic>
        <p:pic>
          <p:nvPicPr>
            <p:cNvPr id="114" name="Bild 11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170512" y="2690342"/>
              <a:ext cx="125361" cy="207863"/>
            </a:xfrm>
            <a:prstGeom prst="rect">
              <a:avLst/>
            </a:prstGeom>
          </p:spPr>
        </p:pic>
        <p:pic>
          <p:nvPicPr>
            <p:cNvPr id="115" name="Bild 11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309800" y="2680405"/>
              <a:ext cx="125361" cy="207863"/>
            </a:xfrm>
            <a:prstGeom prst="rect">
              <a:avLst/>
            </a:prstGeom>
          </p:spPr>
        </p:pic>
        <p:pic>
          <p:nvPicPr>
            <p:cNvPr id="116" name="Bild 11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522674" y="2669414"/>
              <a:ext cx="125361" cy="207863"/>
            </a:xfrm>
            <a:prstGeom prst="rect">
              <a:avLst/>
            </a:prstGeom>
          </p:spPr>
        </p:pic>
        <p:pic>
          <p:nvPicPr>
            <p:cNvPr id="117" name="Bild 11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732610" y="2785611"/>
              <a:ext cx="125361" cy="207863"/>
            </a:xfrm>
            <a:prstGeom prst="rect">
              <a:avLst/>
            </a:prstGeom>
          </p:spPr>
        </p:pic>
        <p:pic>
          <p:nvPicPr>
            <p:cNvPr id="118" name="Bild 11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895801" y="2890671"/>
              <a:ext cx="125361" cy="207863"/>
            </a:xfrm>
            <a:prstGeom prst="rect">
              <a:avLst/>
            </a:prstGeom>
          </p:spPr>
        </p:pic>
        <p:pic>
          <p:nvPicPr>
            <p:cNvPr id="119" name="Bild 11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133653" y="2894918"/>
              <a:ext cx="125361" cy="207863"/>
            </a:xfrm>
            <a:prstGeom prst="rect">
              <a:avLst/>
            </a:prstGeom>
          </p:spPr>
        </p:pic>
        <p:pic>
          <p:nvPicPr>
            <p:cNvPr id="120" name="Bild 11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158759" y="2945047"/>
              <a:ext cx="125361" cy="207863"/>
            </a:xfrm>
            <a:prstGeom prst="rect">
              <a:avLst/>
            </a:prstGeom>
          </p:spPr>
        </p:pic>
        <p:pic>
          <p:nvPicPr>
            <p:cNvPr id="121" name="Bild 12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564594" y="2875688"/>
              <a:ext cx="125361" cy="207863"/>
            </a:xfrm>
            <a:prstGeom prst="rect">
              <a:avLst/>
            </a:prstGeom>
          </p:spPr>
        </p:pic>
        <p:pic>
          <p:nvPicPr>
            <p:cNvPr id="122" name="Bild 12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109926" y="2819017"/>
              <a:ext cx="125361" cy="207863"/>
            </a:xfrm>
            <a:prstGeom prst="rect">
              <a:avLst/>
            </a:prstGeom>
          </p:spPr>
        </p:pic>
        <p:pic>
          <p:nvPicPr>
            <p:cNvPr id="123" name="Bild 12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394874" y="2791061"/>
              <a:ext cx="125361" cy="207863"/>
            </a:xfrm>
            <a:prstGeom prst="rect">
              <a:avLst/>
            </a:prstGeom>
          </p:spPr>
        </p:pic>
        <p:pic>
          <p:nvPicPr>
            <p:cNvPr id="124" name="Bild 12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811645" y="2779975"/>
              <a:ext cx="125361" cy="207863"/>
            </a:xfrm>
            <a:prstGeom prst="rect">
              <a:avLst/>
            </a:prstGeom>
          </p:spPr>
        </p:pic>
        <p:pic>
          <p:nvPicPr>
            <p:cNvPr id="125" name="Bild 12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352880" y="2802270"/>
              <a:ext cx="125361" cy="207863"/>
            </a:xfrm>
            <a:prstGeom prst="rect">
              <a:avLst/>
            </a:prstGeom>
          </p:spPr>
        </p:pic>
        <p:pic>
          <p:nvPicPr>
            <p:cNvPr id="126" name="Bild 12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632860" y="3106611"/>
              <a:ext cx="125361" cy="207863"/>
            </a:xfrm>
            <a:prstGeom prst="rect">
              <a:avLst/>
            </a:prstGeom>
          </p:spPr>
        </p:pic>
        <p:pic>
          <p:nvPicPr>
            <p:cNvPr id="127" name="Bild 12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766298" y="3065447"/>
              <a:ext cx="125361" cy="207863"/>
            </a:xfrm>
            <a:prstGeom prst="rect">
              <a:avLst/>
            </a:prstGeom>
          </p:spPr>
        </p:pic>
        <p:pic>
          <p:nvPicPr>
            <p:cNvPr id="128" name="Bild 12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745334" y="3210542"/>
              <a:ext cx="125361" cy="207863"/>
            </a:xfrm>
            <a:prstGeom prst="rect">
              <a:avLst/>
            </a:prstGeom>
          </p:spPr>
        </p:pic>
        <p:pic>
          <p:nvPicPr>
            <p:cNvPr id="129" name="Bild 12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719434" y="3354050"/>
              <a:ext cx="125361" cy="207863"/>
            </a:xfrm>
            <a:prstGeom prst="rect">
              <a:avLst/>
            </a:prstGeom>
          </p:spPr>
        </p:pic>
        <p:pic>
          <p:nvPicPr>
            <p:cNvPr id="130" name="Bild 12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949975" y="3243355"/>
              <a:ext cx="125361" cy="207863"/>
            </a:xfrm>
            <a:prstGeom prst="rect">
              <a:avLst/>
            </a:prstGeom>
          </p:spPr>
        </p:pic>
        <p:pic>
          <p:nvPicPr>
            <p:cNvPr id="131" name="Bild 13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938238" y="3371072"/>
              <a:ext cx="125361" cy="207863"/>
            </a:xfrm>
            <a:prstGeom prst="rect">
              <a:avLst/>
            </a:prstGeom>
          </p:spPr>
        </p:pic>
        <p:pic>
          <p:nvPicPr>
            <p:cNvPr id="132" name="Bild 13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517871" y="3169064"/>
              <a:ext cx="125361" cy="207863"/>
            </a:xfrm>
            <a:prstGeom prst="rect">
              <a:avLst/>
            </a:prstGeom>
          </p:spPr>
        </p:pic>
        <p:pic>
          <p:nvPicPr>
            <p:cNvPr id="133" name="Bild 13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844394" y="3069619"/>
              <a:ext cx="125361" cy="207863"/>
            </a:xfrm>
            <a:prstGeom prst="rect">
              <a:avLst/>
            </a:prstGeom>
          </p:spPr>
        </p:pic>
        <p:pic>
          <p:nvPicPr>
            <p:cNvPr id="134" name="Bild 13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96584" y="3078184"/>
              <a:ext cx="125361" cy="207863"/>
            </a:xfrm>
            <a:prstGeom prst="rect">
              <a:avLst/>
            </a:prstGeom>
          </p:spPr>
        </p:pic>
        <p:pic>
          <p:nvPicPr>
            <p:cNvPr id="135" name="Bild 13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964572" y="3257337"/>
              <a:ext cx="125361" cy="207863"/>
            </a:xfrm>
            <a:prstGeom prst="rect">
              <a:avLst/>
            </a:prstGeom>
          </p:spPr>
        </p:pic>
        <p:pic>
          <p:nvPicPr>
            <p:cNvPr id="136" name="Bild 13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291927" y="3139423"/>
              <a:ext cx="125361" cy="207863"/>
            </a:xfrm>
            <a:prstGeom prst="rect">
              <a:avLst/>
            </a:prstGeom>
          </p:spPr>
        </p:pic>
        <p:pic>
          <p:nvPicPr>
            <p:cNvPr id="137" name="Bild 13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399078" y="2992528"/>
              <a:ext cx="125361" cy="207863"/>
            </a:xfrm>
            <a:prstGeom prst="rect">
              <a:avLst/>
            </a:prstGeom>
          </p:spPr>
        </p:pic>
        <p:pic>
          <p:nvPicPr>
            <p:cNvPr id="138" name="Bild 13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881496" y="3273684"/>
              <a:ext cx="125361" cy="207863"/>
            </a:xfrm>
            <a:prstGeom prst="rect">
              <a:avLst/>
            </a:prstGeom>
          </p:spPr>
        </p:pic>
        <p:pic>
          <p:nvPicPr>
            <p:cNvPr id="139" name="Bild 13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017530" y="3343601"/>
              <a:ext cx="125361" cy="207863"/>
            </a:xfrm>
            <a:prstGeom prst="rect">
              <a:avLst/>
            </a:prstGeom>
          </p:spPr>
        </p:pic>
        <p:pic>
          <p:nvPicPr>
            <p:cNvPr id="140" name="Bild 13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050622" y="3409762"/>
              <a:ext cx="125361" cy="207863"/>
            </a:xfrm>
            <a:prstGeom prst="rect">
              <a:avLst/>
            </a:prstGeom>
          </p:spPr>
        </p:pic>
        <p:pic>
          <p:nvPicPr>
            <p:cNvPr id="141" name="Bild 14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270363" y="3314615"/>
              <a:ext cx="125361" cy="207863"/>
            </a:xfrm>
            <a:prstGeom prst="rect">
              <a:avLst/>
            </a:prstGeom>
          </p:spPr>
        </p:pic>
        <p:pic>
          <p:nvPicPr>
            <p:cNvPr id="142" name="Bild 14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328247" y="3449579"/>
              <a:ext cx="125361" cy="207863"/>
            </a:xfrm>
            <a:prstGeom prst="rect">
              <a:avLst/>
            </a:prstGeom>
          </p:spPr>
        </p:pic>
        <p:pic>
          <p:nvPicPr>
            <p:cNvPr id="143" name="Bild 14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427423" y="3227015"/>
              <a:ext cx="125361" cy="207863"/>
            </a:xfrm>
            <a:prstGeom prst="rect">
              <a:avLst/>
            </a:prstGeom>
          </p:spPr>
        </p:pic>
        <p:pic>
          <p:nvPicPr>
            <p:cNvPr id="144" name="Bild 14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569917" y="3131427"/>
              <a:ext cx="125361" cy="207863"/>
            </a:xfrm>
            <a:prstGeom prst="rect">
              <a:avLst/>
            </a:prstGeom>
          </p:spPr>
        </p:pic>
        <p:pic>
          <p:nvPicPr>
            <p:cNvPr id="145" name="Bild 14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914803" y="2909685"/>
              <a:ext cx="125361" cy="207863"/>
            </a:xfrm>
            <a:prstGeom prst="rect">
              <a:avLst/>
            </a:prstGeom>
          </p:spPr>
        </p:pic>
        <p:pic>
          <p:nvPicPr>
            <p:cNvPr id="146" name="Bild 14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900244" y="3086816"/>
              <a:ext cx="125361" cy="207863"/>
            </a:xfrm>
            <a:prstGeom prst="rect">
              <a:avLst/>
            </a:prstGeom>
          </p:spPr>
        </p:pic>
        <p:pic>
          <p:nvPicPr>
            <p:cNvPr id="147" name="Bild 14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857241" y="3139422"/>
              <a:ext cx="125361" cy="207863"/>
            </a:xfrm>
            <a:prstGeom prst="rect">
              <a:avLst/>
            </a:prstGeom>
          </p:spPr>
        </p:pic>
        <p:pic>
          <p:nvPicPr>
            <p:cNvPr id="148" name="Bild 14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149456" y="3163393"/>
              <a:ext cx="125361" cy="207863"/>
            </a:xfrm>
            <a:prstGeom prst="rect">
              <a:avLst/>
            </a:prstGeom>
          </p:spPr>
        </p:pic>
        <p:pic>
          <p:nvPicPr>
            <p:cNvPr id="149" name="Bild 14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249915" y="3190747"/>
              <a:ext cx="125361" cy="207863"/>
            </a:xfrm>
            <a:prstGeom prst="rect">
              <a:avLst/>
            </a:prstGeom>
          </p:spPr>
        </p:pic>
        <p:pic>
          <p:nvPicPr>
            <p:cNvPr id="150" name="Bild 14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411042" y="3061534"/>
              <a:ext cx="125361" cy="207863"/>
            </a:xfrm>
            <a:prstGeom prst="rect">
              <a:avLst/>
            </a:prstGeom>
          </p:spPr>
        </p:pic>
        <p:pic>
          <p:nvPicPr>
            <p:cNvPr id="151" name="Bild 15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851494" y="3365295"/>
              <a:ext cx="125361" cy="207863"/>
            </a:xfrm>
            <a:prstGeom prst="rect">
              <a:avLst/>
            </a:prstGeom>
          </p:spPr>
        </p:pic>
        <p:pic>
          <p:nvPicPr>
            <p:cNvPr id="152" name="Bild 15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869051" y="3487497"/>
              <a:ext cx="125361" cy="207863"/>
            </a:xfrm>
            <a:prstGeom prst="rect">
              <a:avLst/>
            </a:prstGeom>
          </p:spPr>
        </p:pic>
        <p:pic>
          <p:nvPicPr>
            <p:cNvPr id="153" name="Bild 15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829804" y="3709606"/>
              <a:ext cx="125361" cy="207863"/>
            </a:xfrm>
            <a:prstGeom prst="rect">
              <a:avLst/>
            </a:prstGeom>
          </p:spPr>
        </p:pic>
        <p:pic>
          <p:nvPicPr>
            <p:cNvPr id="154" name="Bild 15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968806" y="3638684"/>
              <a:ext cx="125361" cy="207863"/>
            </a:xfrm>
            <a:prstGeom prst="rect">
              <a:avLst/>
            </a:prstGeom>
          </p:spPr>
        </p:pic>
        <p:pic>
          <p:nvPicPr>
            <p:cNvPr id="155" name="Bild 15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286592" y="3595089"/>
              <a:ext cx="125361" cy="207863"/>
            </a:xfrm>
            <a:prstGeom prst="rect">
              <a:avLst/>
            </a:prstGeom>
          </p:spPr>
        </p:pic>
        <p:pic>
          <p:nvPicPr>
            <p:cNvPr id="156" name="Bild 15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571741" y="3481547"/>
              <a:ext cx="125361" cy="207863"/>
            </a:xfrm>
            <a:prstGeom prst="rect">
              <a:avLst/>
            </a:prstGeom>
          </p:spPr>
        </p:pic>
        <p:pic>
          <p:nvPicPr>
            <p:cNvPr id="157" name="Bild 15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590935" y="3554200"/>
              <a:ext cx="125361" cy="207863"/>
            </a:xfrm>
            <a:prstGeom prst="rect">
              <a:avLst/>
            </a:prstGeom>
          </p:spPr>
        </p:pic>
        <p:pic>
          <p:nvPicPr>
            <p:cNvPr id="158" name="Bild 15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37620" y="3472563"/>
              <a:ext cx="125361" cy="207863"/>
            </a:xfrm>
            <a:prstGeom prst="rect">
              <a:avLst/>
            </a:prstGeom>
          </p:spPr>
        </p:pic>
        <p:pic>
          <p:nvPicPr>
            <p:cNvPr id="159" name="Bild 15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220536" y="3520704"/>
              <a:ext cx="125361" cy="207863"/>
            </a:xfrm>
            <a:prstGeom prst="rect">
              <a:avLst/>
            </a:prstGeom>
          </p:spPr>
        </p:pic>
        <p:pic>
          <p:nvPicPr>
            <p:cNvPr id="160" name="Bild 15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542687" y="3499216"/>
              <a:ext cx="125361" cy="207863"/>
            </a:xfrm>
            <a:prstGeom prst="rect">
              <a:avLst/>
            </a:prstGeom>
          </p:spPr>
        </p:pic>
        <p:pic>
          <p:nvPicPr>
            <p:cNvPr id="161" name="Bild 16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736261" y="3601427"/>
              <a:ext cx="125361" cy="207863"/>
            </a:xfrm>
            <a:prstGeom prst="rect">
              <a:avLst/>
            </a:prstGeom>
          </p:spPr>
        </p:pic>
        <p:pic>
          <p:nvPicPr>
            <p:cNvPr id="162" name="Bild 16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569917" y="3663599"/>
              <a:ext cx="125361" cy="207863"/>
            </a:xfrm>
            <a:prstGeom prst="rect">
              <a:avLst/>
            </a:prstGeom>
          </p:spPr>
        </p:pic>
        <p:pic>
          <p:nvPicPr>
            <p:cNvPr id="163" name="Bild 16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654494" y="3780346"/>
              <a:ext cx="125361" cy="207863"/>
            </a:xfrm>
            <a:prstGeom prst="rect">
              <a:avLst/>
            </a:prstGeom>
          </p:spPr>
        </p:pic>
        <p:pic>
          <p:nvPicPr>
            <p:cNvPr id="164" name="Bild 16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800333" y="3666707"/>
              <a:ext cx="125361" cy="207863"/>
            </a:xfrm>
            <a:prstGeom prst="rect">
              <a:avLst/>
            </a:prstGeom>
          </p:spPr>
        </p:pic>
        <p:pic>
          <p:nvPicPr>
            <p:cNvPr id="165" name="Bild 16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844358" y="3707079"/>
              <a:ext cx="125361" cy="207863"/>
            </a:xfrm>
            <a:prstGeom prst="rect">
              <a:avLst/>
            </a:prstGeom>
          </p:spPr>
        </p:pic>
        <p:pic>
          <p:nvPicPr>
            <p:cNvPr id="166" name="Bild 16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69630" y="3744037"/>
              <a:ext cx="125361" cy="207863"/>
            </a:xfrm>
            <a:prstGeom prst="rect">
              <a:avLst/>
            </a:prstGeom>
          </p:spPr>
        </p:pic>
        <p:pic>
          <p:nvPicPr>
            <p:cNvPr id="167" name="Bild 16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54772" y="3834548"/>
              <a:ext cx="125361" cy="207863"/>
            </a:xfrm>
            <a:prstGeom prst="rect">
              <a:avLst/>
            </a:prstGeom>
          </p:spPr>
        </p:pic>
        <p:pic>
          <p:nvPicPr>
            <p:cNvPr id="168" name="Bild 16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688821" y="3834548"/>
              <a:ext cx="125361" cy="207863"/>
            </a:xfrm>
            <a:prstGeom prst="rect">
              <a:avLst/>
            </a:prstGeom>
          </p:spPr>
        </p:pic>
        <p:pic>
          <p:nvPicPr>
            <p:cNvPr id="169" name="Bild 16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059214" y="3793498"/>
              <a:ext cx="125361" cy="207863"/>
            </a:xfrm>
            <a:prstGeom prst="rect">
              <a:avLst/>
            </a:prstGeom>
          </p:spPr>
        </p:pic>
        <p:pic>
          <p:nvPicPr>
            <p:cNvPr id="170" name="Bild 16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176298" y="3853052"/>
              <a:ext cx="125361" cy="207863"/>
            </a:xfrm>
            <a:prstGeom prst="rect">
              <a:avLst/>
            </a:prstGeom>
          </p:spPr>
        </p:pic>
        <p:pic>
          <p:nvPicPr>
            <p:cNvPr id="171" name="Bild 17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183669" y="3986904"/>
              <a:ext cx="125361" cy="207863"/>
            </a:xfrm>
            <a:prstGeom prst="rect">
              <a:avLst/>
            </a:prstGeom>
          </p:spPr>
        </p:pic>
        <p:pic>
          <p:nvPicPr>
            <p:cNvPr id="172" name="Bild 17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341545" y="3813699"/>
              <a:ext cx="125361" cy="207863"/>
            </a:xfrm>
            <a:prstGeom prst="rect">
              <a:avLst/>
            </a:prstGeom>
          </p:spPr>
        </p:pic>
        <p:pic>
          <p:nvPicPr>
            <p:cNvPr id="173" name="Bild 17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403354" y="3897468"/>
              <a:ext cx="125361" cy="207863"/>
            </a:xfrm>
            <a:prstGeom prst="rect">
              <a:avLst/>
            </a:prstGeom>
          </p:spPr>
        </p:pic>
        <p:pic>
          <p:nvPicPr>
            <p:cNvPr id="174" name="Bild 17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605851" y="3986524"/>
              <a:ext cx="125361" cy="207863"/>
            </a:xfrm>
            <a:prstGeom prst="rect">
              <a:avLst/>
            </a:prstGeom>
          </p:spPr>
        </p:pic>
        <p:pic>
          <p:nvPicPr>
            <p:cNvPr id="175" name="Bild 17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692789" y="3922281"/>
              <a:ext cx="125361" cy="207863"/>
            </a:xfrm>
            <a:prstGeom prst="rect">
              <a:avLst/>
            </a:prstGeom>
          </p:spPr>
        </p:pic>
        <p:pic>
          <p:nvPicPr>
            <p:cNvPr id="176" name="Bild 17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726408" y="4026212"/>
              <a:ext cx="125361" cy="207863"/>
            </a:xfrm>
            <a:prstGeom prst="rect">
              <a:avLst/>
            </a:prstGeom>
          </p:spPr>
        </p:pic>
        <p:pic>
          <p:nvPicPr>
            <p:cNvPr id="177" name="Bild 17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188411" y="3943351"/>
              <a:ext cx="125361" cy="207863"/>
            </a:xfrm>
            <a:prstGeom prst="rect">
              <a:avLst/>
            </a:prstGeom>
          </p:spPr>
        </p:pic>
        <p:pic>
          <p:nvPicPr>
            <p:cNvPr id="178" name="Bild 17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462228" y="3881158"/>
              <a:ext cx="125361" cy="207863"/>
            </a:xfrm>
            <a:prstGeom prst="rect">
              <a:avLst/>
            </a:prstGeom>
          </p:spPr>
        </p:pic>
        <p:pic>
          <p:nvPicPr>
            <p:cNvPr id="179" name="Bild 17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872648" y="3885310"/>
              <a:ext cx="125361" cy="207863"/>
            </a:xfrm>
            <a:prstGeom prst="rect">
              <a:avLst/>
            </a:prstGeom>
          </p:spPr>
        </p:pic>
        <p:pic>
          <p:nvPicPr>
            <p:cNvPr id="180" name="Bild 17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872648" y="3931670"/>
              <a:ext cx="125361" cy="207863"/>
            </a:xfrm>
            <a:prstGeom prst="rect">
              <a:avLst/>
            </a:prstGeom>
          </p:spPr>
        </p:pic>
        <p:pic>
          <p:nvPicPr>
            <p:cNvPr id="181" name="Bild 18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789154" y="3933033"/>
              <a:ext cx="125361" cy="207863"/>
            </a:xfrm>
            <a:prstGeom prst="rect">
              <a:avLst/>
            </a:prstGeom>
          </p:spPr>
        </p:pic>
        <p:pic>
          <p:nvPicPr>
            <p:cNvPr id="182" name="Bild 18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763571" y="3984495"/>
              <a:ext cx="125361" cy="207863"/>
            </a:xfrm>
            <a:prstGeom prst="rect">
              <a:avLst/>
            </a:prstGeom>
          </p:spPr>
        </p:pic>
        <p:pic>
          <p:nvPicPr>
            <p:cNvPr id="183" name="Bild 18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844038" y="4039359"/>
              <a:ext cx="125361" cy="207863"/>
            </a:xfrm>
            <a:prstGeom prst="rect">
              <a:avLst/>
            </a:prstGeom>
          </p:spPr>
        </p:pic>
        <p:pic>
          <p:nvPicPr>
            <p:cNvPr id="184" name="Bild 18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913609" y="4038327"/>
              <a:ext cx="125361" cy="207863"/>
            </a:xfrm>
            <a:prstGeom prst="rect">
              <a:avLst/>
            </a:prstGeom>
          </p:spPr>
        </p:pic>
        <p:pic>
          <p:nvPicPr>
            <p:cNvPr id="185" name="Bild 18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755779" y="4092036"/>
              <a:ext cx="125361" cy="207863"/>
            </a:xfrm>
            <a:prstGeom prst="rect">
              <a:avLst/>
            </a:prstGeom>
          </p:spPr>
        </p:pic>
        <p:pic>
          <p:nvPicPr>
            <p:cNvPr id="186" name="Bild 18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726473" y="4190451"/>
              <a:ext cx="125361" cy="207863"/>
            </a:xfrm>
            <a:prstGeom prst="rect">
              <a:avLst/>
            </a:prstGeom>
          </p:spPr>
        </p:pic>
        <p:pic>
          <p:nvPicPr>
            <p:cNvPr id="187" name="Bild 18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29778" y="3912334"/>
              <a:ext cx="125361" cy="207863"/>
            </a:xfrm>
            <a:prstGeom prst="rect">
              <a:avLst/>
            </a:prstGeom>
          </p:spPr>
        </p:pic>
        <p:pic>
          <p:nvPicPr>
            <p:cNvPr id="188" name="Bild 18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377627" y="3981397"/>
              <a:ext cx="125361" cy="207863"/>
            </a:xfrm>
            <a:prstGeom prst="rect">
              <a:avLst/>
            </a:prstGeom>
          </p:spPr>
        </p:pic>
        <p:pic>
          <p:nvPicPr>
            <p:cNvPr id="189" name="Bild 18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608318" y="4033129"/>
              <a:ext cx="125361" cy="207863"/>
            </a:xfrm>
            <a:prstGeom prst="rect">
              <a:avLst/>
            </a:prstGeom>
          </p:spPr>
        </p:pic>
        <p:pic>
          <p:nvPicPr>
            <p:cNvPr id="190" name="Bild 18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851462" y="4080991"/>
              <a:ext cx="125361" cy="207863"/>
            </a:xfrm>
            <a:prstGeom prst="rect">
              <a:avLst/>
            </a:prstGeom>
          </p:spPr>
        </p:pic>
        <p:pic>
          <p:nvPicPr>
            <p:cNvPr id="191" name="Bild 19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033319" y="4069935"/>
              <a:ext cx="125361" cy="207863"/>
            </a:xfrm>
            <a:prstGeom prst="rect">
              <a:avLst/>
            </a:prstGeom>
          </p:spPr>
        </p:pic>
        <p:pic>
          <p:nvPicPr>
            <p:cNvPr id="192" name="Bild 19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559841" y="4215245"/>
              <a:ext cx="125361" cy="207863"/>
            </a:xfrm>
            <a:prstGeom prst="rect">
              <a:avLst/>
            </a:prstGeom>
          </p:spPr>
        </p:pic>
        <p:pic>
          <p:nvPicPr>
            <p:cNvPr id="193" name="Bild 19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998040" y="4173173"/>
              <a:ext cx="125361" cy="207863"/>
            </a:xfrm>
            <a:prstGeom prst="rect">
              <a:avLst/>
            </a:prstGeom>
          </p:spPr>
        </p:pic>
        <p:pic>
          <p:nvPicPr>
            <p:cNvPr id="194" name="Bild 19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212911" y="4173866"/>
              <a:ext cx="125361" cy="207863"/>
            </a:xfrm>
            <a:prstGeom prst="rect">
              <a:avLst/>
            </a:prstGeom>
          </p:spPr>
        </p:pic>
        <p:pic>
          <p:nvPicPr>
            <p:cNvPr id="195" name="Bild 19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424860" y="4130143"/>
              <a:ext cx="125361" cy="207863"/>
            </a:xfrm>
            <a:prstGeom prst="rect">
              <a:avLst/>
            </a:prstGeom>
          </p:spPr>
        </p:pic>
        <p:pic>
          <p:nvPicPr>
            <p:cNvPr id="196" name="Bild 19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460026" y="4184922"/>
              <a:ext cx="125361" cy="207863"/>
            </a:xfrm>
            <a:prstGeom prst="rect">
              <a:avLst/>
            </a:prstGeom>
          </p:spPr>
        </p:pic>
        <p:pic>
          <p:nvPicPr>
            <p:cNvPr id="197" name="Bild 19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481585" y="4221819"/>
              <a:ext cx="125361" cy="207863"/>
            </a:xfrm>
            <a:prstGeom prst="rect">
              <a:avLst/>
            </a:prstGeom>
          </p:spPr>
        </p:pic>
        <p:pic>
          <p:nvPicPr>
            <p:cNvPr id="198" name="Bild 19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484565" y="4379128"/>
              <a:ext cx="125361" cy="207863"/>
            </a:xfrm>
            <a:prstGeom prst="rect">
              <a:avLst/>
            </a:prstGeom>
          </p:spPr>
        </p:pic>
        <p:pic>
          <p:nvPicPr>
            <p:cNvPr id="199" name="Bild 19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908564" y="4379128"/>
              <a:ext cx="125361" cy="207863"/>
            </a:xfrm>
            <a:prstGeom prst="rect">
              <a:avLst/>
            </a:prstGeom>
          </p:spPr>
        </p:pic>
        <p:pic>
          <p:nvPicPr>
            <p:cNvPr id="200" name="Bild 19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855459" y="4500971"/>
              <a:ext cx="125361" cy="207863"/>
            </a:xfrm>
            <a:prstGeom prst="rect">
              <a:avLst/>
            </a:prstGeom>
          </p:spPr>
        </p:pic>
        <p:pic>
          <p:nvPicPr>
            <p:cNvPr id="201" name="Bild 20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120476" y="4260431"/>
              <a:ext cx="125361" cy="207863"/>
            </a:xfrm>
            <a:prstGeom prst="rect">
              <a:avLst/>
            </a:prstGeom>
          </p:spPr>
        </p:pic>
        <p:pic>
          <p:nvPicPr>
            <p:cNvPr id="202" name="Bild 20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118099" y="4364269"/>
              <a:ext cx="125361" cy="207863"/>
            </a:xfrm>
            <a:prstGeom prst="rect">
              <a:avLst/>
            </a:prstGeom>
          </p:spPr>
        </p:pic>
        <p:pic>
          <p:nvPicPr>
            <p:cNvPr id="203" name="Bild 20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13929" y="4234074"/>
              <a:ext cx="125361" cy="207863"/>
            </a:xfrm>
            <a:prstGeom prst="rect">
              <a:avLst/>
            </a:prstGeom>
          </p:spPr>
        </p:pic>
        <p:pic>
          <p:nvPicPr>
            <p:cNvPr id="204" name="Bild 20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33115" y="4379128"/>
              <a:ext cx="125361" cy="207863"/>
            </a:xfrm>
            <a:prstGeom prst="rect">
              <a:avLst/>
            </a:prstGeom>
          </p:spPr>
        </p:pic>
        <p:pic>
          <p:nvPicPr>
            <p:cNvPr id="205" name="Bild 20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631061" y="4316729"/>
              <a:ext cx="125361" cy="207863"/>
            </a:xfrm>
            <a:prstGeom prst="rect">
              <a:avLst/>
            </a:prstGeom>
          </p:spPr>
        </p:pic>
        <p:pic>
          <p:nvPicPr>
            <p:cNvPr id="206" name="Bild 20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836543" y="4229786"/>
              <a:ext cx="125361" cy="207863"/>
            </a:xfrm>
            <a:prstGeom prst="rect">
              <a:avLst/>
            </a:prstGeom>
          </p:spPr>
        </p:pic>
        <p:pic>
          <p:nvPicPr>
            <p:cNvPr id="207" name="Bild 20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147149" y="4361788"/>
              <a:ext cx="125361" cy="207863"/>
            </a:xfrm>
            <a:prstGeom prst="rect">
              <a:avLst/>
            </a:prstGeom>
          </p:spPr>
        </p:pic>
        <p:pic>
          <p:nvPicPr>
            <p:cNvPr id="208" name="Bild 20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373973" y="4412329"/>
              <a:ext cx="125361" cy="207863"/>
            </a:xfrm>
            <a:prstGeom prst="rect">
              <a:avLst/>
            </a:prstGeom>
          </p:spPr>
        </p:pic>
        <p:pic>
          <p:nvPicPr>
            <p:cNvPr id="209" name="Bild 20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474497" y="4475081"/>
              <a:ext cx="125361" cy="207863"/>
            </a:xfrm>
            <a:prstGeom prst="rect">
              <a:avLst/>
            </a:prstGeom>
          </p:spPr>
        </p:pic>
        <p:pic>
          <p:nvPicPr>
            <p:cNvPr id="210" name="Bild 20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832417" y="4398314"/>
              <a:ext cx="125361" cy="207863"/>
            </a:xfrm>
            <a:prstGeom prst="rect">
              <a:avLst/>
            </a:prstGeom>
          </p:spPr>
        </p:pic>
        <p:pic>
          <p:nvPicPr>
            <p:cNvPr id="211" name="Bild 21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058018" y="4553256"/>
              <a:ext cx="125361" cy="207863"/>
            </a:xfrm>
            <a:prstGeom prst="rect">
              <a:avLst/>
            </a:prstGeom>
          </p:spPr>
        </p:pic>
        <p:pic>
          <p:nvPicPr>
            <p:cNvPr id="212" name="Bild 21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383102" y="4599495"/>
              <a:ext cx="125361" cy="207863"/>
            </a:xfrm>
            <a:prstGeom prst="rect">
              <a:avLst/>
            </a:prstGeom>
          </p:spPr>
        </p:pic>
        <p:pic>
          <p:nvPicPr>
            <p:cNvPr id="213" name="Bild 21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966407" y="4629086"/>
              <a:ext cx="125361" cy="207863"/>
            </a:xfrm>
            <a:prstGeom prst="rect">
              <a:avLst/>
            </a:prstGeom>
          </p:spPr>
        </p:pic>
        <p:pic>
          <p:nvPicPr>
            <p:cNvPr id="214" name="Bild 21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12183" y="4504994"/>
              <a:ext cx="125361" cy="207863"/>
            </a:xfrm>
            <a:prstGeom prst="rect">
              <a:avLst/>
            </a:prstGeom>
          </p:spPr>
        </p:pic>
        <p:pic>
          <p:nvPicPr>
            <p:cNvPr id="215" name="Bild 21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258667" y="4561546"/>
              <a:ext cx="125361" cy="207863"/>
            </a:xfrm>
            <a:prstGeom prst="rect">
              <a:avLst/>
            </a:prstGeom>
          </p:spPr>
        </p:pic>
        <p:pic>
          <p:nvPicPr>
            <p:cNvPr id="216" name="Bild 21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334703" y="4608994"/>
              <a:ext cx="125361" cy="207863"/>
            </a:xfrm>
            <a:prstGeom prst="rect">
              <a:avLst/>
            </a:prstGeom>
          </p:spPr>
        </p:pic>
        <p:pic>
          <p:nvPicPr>
            <p:cNvPr id="217" name="Bild 21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394857" y="4672152"/>
              <a:ext cx="125361" cy="207863"/>
            </a:xfrm>
            <a:prstGeom prst="rect">
              <a:avLst/>
            </a:prstGeom>
          </p:spPr>
        </p:pic>
        <p:pic>
          <p:nvPicPr>
            <p:cNvPr id="218" name="Bild 21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04013" y="4819509"/>
              <a:ext cx="125361" cy="207863"/>
            </a:xfrm>
            <a:prstGeom prst="rect">
              <a:avLst/>
            </a:prstGeom>
          </p:spPr>
        </p:pic>
        <p:pic>
          <p:nvPicPr>
            <p:cNvPr id="219" name="Bild 21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696353" y="4478259"/>
              <a:ext cx="125361" cy="207863"/>
            </a:xfrm>
            <a:prstGeom prst="rect">
              <a:avLst/>
            </a:prstGeom>
          </p:spPr>
        </p:pic>
        <p:pic>
          <p:nvPicPr>
            <p:cNvPr id="220" name="Bild 21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839083" y="4397606"/>
              <a:ext cx="125361" cy="207863"/>
            </a:xfrm>
            <a:prstGeom prst="rect">
              <a:avLst/>
            </a:prstGeom>
          </p:spPr>
        </p:pic>
        <p:pic>
          <p:nvPicPr>
            <p:cNvPr id="221" name="Bild 22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963747" y="4553256"/>
              <a:ext cx="125361" cy="207863"/>
            </a:xfrm>
            <a:prstGeom prst="rect">
              <a:avLst/>
            </a:prstGeom>
          </p:spPr>
        </p:pic>
        <p:pic>
          <p:nvPicPr>
            <p:cNvPr id="222" name="Bild 22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190327" y="4615798"/>
              <a:ext cx="125361" cy="207863"/>
            </a:xfrm>
            <a:prstGeom prst="rect">
              <a:avLst/>
            </a:prstGeom>
          </p:spPr>
        </p:pic>
        <p:pic>
          <p:nvPicPr>
            <p:cNvPr id="223" name="Bild 22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320736" y="4657187"/>
              <a:ext cx="125361" cy="207863"/>
            </a:xfrm>
            <a:prstGeom prst="rect">
              <a:avLst/>
            </a:prstGeom>
          </p:spPr>
        </p:pic>
        <p:pic>
          <p:nvPicPr>
            <p:cNvPr id="224" name="Bild 22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788813" y="4526362"/>
              <a:ext cx="125361" cy="207863"/>
            </a:xfrm>
            <a:prstGeom prst="rect">
              <a:avLst/>
            </a:prstGeom>
          </p:spPr>
        </p:pic>
        <p:pic>
          <p:nvPicPr>
            <p:cNvPr id="225" name="Bild 22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987017" y="4852075"/>
              <a:ext cx="125361" cy="207863"/>
            </a:xfrm>
            <a:prstGeom prst="rect">
              <a:avLst/>
            </a:prstGeom>
          </p:spPr>
        </p:pic>
        <p:pic>
          <p:nvPicPr>
            <p:cNvPr id="226" name="Bild 22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100300" y="4819508"/>
              <a:ext cx="125361" cy="207863"/>
            </a:xfrm>
            <a:prstGeom prst="rect">
              <a:avLst/>
            </a:prstGeom>
          </p:spPr>
        </p:pic>
        <p:pic>
          <p:nvPicPr>
            <p:cNvPr id="227" name="Bild 22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670998" y="4841135"/>
              <a:ext cx="125361" cy="207863"/>
            </a:xfrm>
            <a:prstGeom prst="rect">
              <a:avLst/>
            </a:prstGeom>
          </p:spPr>
        </p:pic>
        <p:pic>
          <p:nvPicPr>
            <p:cNvPr id="228" name="Bild 22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924030" y="4733386"/>
              <a:ext cx="125361" cy="207863"/>
            </a:xfrm>
            <a:prstGeom prst="rect">
              <a:avLst/>
            </a:prstGeom>
          </p:spPr>
        </p:pic>
        <p:pic>
          <p:nvPicPr>
            <p:cNvPr id="229" name="Bild 22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563449" y="4758619"/>
              <a:ext cx="125361" cy="207863"/>
            </a:xfrm>
            <a:prstGeom prst="rect">
              <a:avLst/>
            </a:prstGeom>
          </p:spPr>
        </p:pic>
        <p:pic>
          <p:nvPicPr>
            <p:cNvPr id="230" name="Bild 22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734786" y="4788647"/>
              <a:ext cx="125361" cy="207863"/>
            </a:xfrm>
            <a:prstGeom prst="rect">
              <a:avLst/>
            </a:prstGeom>
          </p:spPr>
        </p:pic>
        <p:pic>
          <p:nvPicPr>
            <p:cNvPr id="231" name="Bild 23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914174" y="4664642"/>
              <a:ext cx="125361" cy="207863"/>
            </a:xfrm>
            <a:prstGeom prst="rect">
              <a:avLst/>
            </a:prstGeom>
          </p:spPr>
        </p:pic>
        <p:pic>
          <p:nvPicPr>
            <p:cNvPr id="232" name="Bild 23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935982" y="4810216"/>
              <a:ext cx="125361" cy="207863"/>
            </a:xfrm>
            <a:prstGeom prst="rect">
              <a:avLst/>
            </a:prstGeom>
          </p:spPr>
        </p:pic>
        <p:pic>
          <p:nvPicPr>
            <p:cNvPr id="233" name="Bild 23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975776" y="4960048"/>
              <a:ext cx="125361" cy="207863"/>
            </a:xfrm>
            <a:prstGeom prst="rect">
              <a:avLst/>
            </a:prstGeom>
          </p:spPr>
        </p:pic>
        <p:pic>
          <p:nvPicPr>
            <p:cNvPr id="234" name="Bild 23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089088" y="4732869"/>
              <a:ext cx="125361" cy="207863"/>
            </a:xfrm>
            <a:prstGeom prst="rect">
              <a:avLst/>
            </a:prstGeom>
          </p:spPr>
        </p:pic>
        <p:pic>
          <p:nvPicPr>
            <p:cNvPr id="235" name="Bild 23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251993" y="4856581"/>
              <a:ext cx="125361" cy="207863"/>
            </a:xfrm>
            <a:prstGeom prst="rect">
              <a:avLst/>
            </a:prstGeom>
          </p:spPr>
        </p:pic>
        <p:pic>
          <p:nvPicPr>
            <p:cNvPr id="236" name="Bild 23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316682" y="5063979"/>
              <a:ext cx="125361" cy="207863"/>
            </a:xfrm>
            <a:prstGeom prst="rect">
              <a:avLst/>
            </a:prstGeom>
          </p:spPr>
        </p:pic>
        <p:pic>
          <p:nvPicPr>
            <p:cNvPr id="237" name="Bild 23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768877" y="5038557"/>
              <a:ext cx="125361" cy="207863"/>
            </a:xfrm>
            <a:prstGeom prst="rect">
              <a:avLst/>
            </a:prstGeom>
          </p:spPr>
        </p:pic>
        <p:pic>
          <p:nvPicPr>
            <p:cNvPr id="238" name="Bild 23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161628" y="5196785"/>
              <a:ext cx="125361" cy="207863"/>
            </a:xfrm>
            <a:prstGeom prst="rect">
              <a:avLst/>
            </a:prstGeom>
          </p:spPr>
        </p:pic>
        <p:pic>
          <p:nvPicPr>
            <p:cNvPr id="239" name="Bild 23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503955" y="5124850"/>
              <a:ext cx="125361" cy="207863"/>
            </a:xfrm>
            <a:prstGeom prst="rect">
              <a:avLst/>
            </a:prstGeom>
          </p:spPr>
        </p:pic>
        <p:pic>
          <p:nvPicPr>
            <p:cNvPr id="240" name="Bild 23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719651" y="5076960"/>
              <a:ext cx="125361" cy="207863"/>
            </a:xfrm>
            <a:prstGeom prst="rect">
              <a:avLst/>
            </a:prstGeom>
          </p:spPr>
        </p:pic>
        <p:pic>
          <p:nvPicPr>
            <p:cNvPr id="241" name="Bild 24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602217" y="5255715"/>
              <a:ext cx="125361" cy="207863"/>
            </a:xfrm>
            <a:prstGeom prst="rect">
              <a:avLst/>
            </a:prstGeom>
          </p:spPr>
        </p:pic>
        <p:pic>
          <p:nvPicPr>
            <p:cNvPr id="242" name="Bild 24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879147" y="4985775"/>
              <a:ext cx="125361" cy="207863"/>
            </a:xfrm>
            <a:prstGeom prst="rect">
              <a:avLst/>
            </a:prstGeom>
          </p:spPr>
        </p:pic>
        <p:pic>
          <p:nvPicPr>
            <p:cNvPr id="243" name="Bild 24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948895" y="4990644"/>
              <a:ext cx="125361" cy="207863"/>
            </a:xfrm>
            <a:prstGeom prst="rect">
              <a:avLst/>
            </a:prstGeom>
          </p:spPr>
        </p:pic>
        <p:pic>
          <p:nvPicPr>
            <p:cNvPr id="244" name="Bild 24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026427" y="4945066"/>
              <a:ext cx="125361" cy="207863"/>
            </a:xfrm>
            <a:prstGeom prst="rect">
              <a:avLst/>
            </a:prstGeom>
          </p:spPr>
        </p:pic>
        <p:pic>
          <p:nvPicPr>
            <p:cNvPr id="245" name="Bild 24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055959" y="4996510"/>
              <a:ext cx="125361" cy="207863"/>
            </a:xfrm>
            <a:prstGeom prst="rect">
              <a:avLst/>
            </a:prstGeom>
          </p:spPr>
        </p:pic>
        <p:pic>
          <p:nvPicPr>
            <p:cNvPr id="246" name="Bild 24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108391" y="4897190"/>
              <a:ext cx="125361" cy="207863"/>
            </a:xfrm>
            <a:prstGeom prst="rect">
              <a:avLst/>
            </a:prstGeom>
          </p:spPr>
        </p:pic>
        <p:pic>
          <p:nvPicPr>
            <p:cNvPr id="247" name="Bild 24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372799" y="4886712"/>
              <a:ext cx="125361" cy="207863"/>
            </a:xfrm>
            <a:prstGeom prst="rect">
              <a:avLst/>
            </a:prstGeom>
          </p:spPr>
        </p:pic>
        <p:pic>
          <p:nvPicPr>
            <p:cNvPr id="248" name="Bild 24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357289" y="4964250"/>
              <a:ext cx="125361" cy="207863"/>
            </a:xfrm>
            <a:prstGeom prst="rect">
              <a:avLst/>
            </a:prstGeom>
          </p:spPr>
        </p:pic>
        <p:pic>
          <p:nvPicPr>
            <p:cNvPr id="249" name="Bild 24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474497" y="4964250"/>
              <a:ext cx="125361" cy="207863"/>
            </a:xfrm>
            <a:prstGeom prst="rect">
              <a:avLst/>
            </a:prstGeom>
          </p:spPr>
        </p:pic>
        <p:pic>
          <p:nvPicPr>
            <p:cNvPr id="250" name="Bild 24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719577" y="5037048"/>
              <a:ext cx="125361" cy="207863"/>
            </a:xfrm>
            <a:prstGeom prst="rect">
              <a:avLst/>
            </a:prstGeom>
          </p:spPr>
        </p:pic>
        <p:pic>
          <p:nvPicPr>
            <p:cNvPr id="251" name="Bild 25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298708" y="5379573"/>
              <a:ext cx="125361" cy="207863"/>
            </a:xfrm>
            <a:prstGeom prst="rect">
              <a:avLst/>
            </a:prstGeom>
          </p:spPr>
        </p:pic>
        <p:pic>
          <p:nvPicPr>
            <p:cNvPr id="253" name="Bild 25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686515" y="5237626"/>
              <a:ext cx="125361" cy="207863"/>
            </a:xfrm>
            <a:prstGeom prst="rect">
              <a:avLst/>
            </a:prstGeom>
          </p:spPr>
        </p:pic>
        <p:pic>
          <p:nvPicPr>
            <p:cNvPr id="254" name="Bild 25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709148" y="5284823"/>
              <a:ext cx="125361" cy="207863"/>
            </a:xfrm>
            <a:prstGeom prst="rect">
              <a:avLst/>
            </a:prstGeom>
          </p:spPr>
        </p:pic>
        <p:pic>
          <p:nvPicPr>
            <p:cNvPr id="255" name="Bild 25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851308" y="5180891"/>
              <a:ext cx="125361" cy="207863"/>
            </a:xfrm>
            <a:prstGeom prst="rect">
              <a:avLst/>
            </a:prstGeom>
          </p:spPr>
        </p:pic>
        <p:pic>
          <p:nvPicPr>
            <p:cNvPr id="256" name="Bild 25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941827" y="5147966"/>
              <a:ext cx="125361" cy="207863"/>
            </a:xfrm>
            <a:prstGeom prst="rect">
              <a:avLst/>
            </a:prstGeom>
          </p:spPr>
        </p:pic>
        <p:pic>
          <p:nvPicPr>
            <p:cNvPr id="257" name="Bild 25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924030" y="5255715"/>
              <a:ext cx="125361" cy="207863"/>
            </a:xfrm>
            <a:prstGeom prst="rect">
              <a:avLst/>
            </a:prstGeom>
          </p:spPr>
        </p:pic>
        <p:pic>
          <p:nvPicPr>
            <p:cNvPr id="258" name="Bild 25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147148" y="5087455"/>
              <a:ext cx="125361" cy="207863"/>
            </a:xfrm>
            <a:prstGeom prst="rect">
              <a:avLst/>
            </a:prstGeom>
          </p:spPr>
        </p:pic>
        <p:pic>
          <p:nvPicPr>
            <p:cNvPr id="259" name="Bild 25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169489" y="5130682"/>
              <a:ext cx="125361" cy="207863"/>
            </a:xfrm>
            <a:prstGeom prst="rect">
              <a:avLst/>
            </a:prstGeom>
          </p:spPr>
        </p:pic>
        <p:pic>
          <p:nvPicPr>
            <p:cNvPr id="260" name="Bild 25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103440" y="5234571"/>
              <a:ext cx="125361" cy="207863"/>
            </a:xfrm>
            <a:prstGeom prst="rect">
              <a:avLst/>
            </a:prstGeom>
          </p:spPr>
        </p:pic>
        <p:pic>
          <p:nvPicPr>
            <p:cNvPr id="261" name="Bild 26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348320" y="5124726"/>
              <a:ext cx="125361" cy="207863"/>
            </a:xfrm>
            <a:prstGeom prst="rect">
              <a:avLst/>
            </a:prstGeom>
          </p:spPr>
        </p:pic>
        <p:pic>
          <p:nvPicPr>
            <p:cNvPr id="262" name="Bild 26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384368" y="5250403"/>
              <a:ext cx="125361" cy="207863"/>
            </a:xfrm>
            <a:prstGeom prst="rect">
              <a:avLst/>
            </a:prstGeom>
          </p:spPr>
        </p:pic>
        <p:pic>
          <p:nvPicPr>
            <p:cNvPr id="263" name="Bild 26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599858" y="5192314"/>
              <a:ext cx="125361" cy="207863"/>
            </a:xfrm>
            <a:prstGeom prst="rect">
              <a:avLst/>
            </a:prstGeom>
          </p:spPr>
        </p:pic>
        <p:pic>
          <p:nvPicPr>
            <p:cNvPr id="264" name="Bild 26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836691" y="5173536"/>
              <a:ext cx="125361" cy="207863"/>
            </a:xfrm>
            <a:prstGeom prst="rect">
              <a:avLst/>
            </a:prstGeom>
          </p:spPr>
        </p:pic>
        <p:pic>
          <p:nvPicPr>
            <p:cNvPr id="265" name="Bild 26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817918" y="5301768"/>
              <a:ext cx="125361" cy="207863"/>
            </a:xfrm>
            <a:prstGeom prst="rect">
              <a:avLst/>
            </a:prstGeom>
          </p:spPr>
        </p:pic>
        <p:pic>
          <p:nvPicPr>
            <p:cNvPr id="266" name="Bild 26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100098" y="5176407"/>
              <a:ext cx="125361" cy="207863"/>
            </a:xfrm>
            <a:prstGeom prst="rect">
              <a:avLst/>
            </a:prstGeom>
          </p:spPr>
        </p:pic>
        <p:pic>
          <p:nvPicPr>
            <p:cNvPr id="267" name="Bild 26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196333" y="5634137"/>
              <a:ext cx="125361" cy="207863"/>
            </a:xfrm>
            <a:prstGeom prst="rect">
              <a:avLst/>
            </a:prstGeom>
          </p:spPr>
        </p:pic>
        <p:pic>
          <p:nvPicPr>
            <p:cNvPr id="268" name="Bild 26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468226" y="5746471"/>
              <a:ext cx="125361" cy="207863"/>
            </a:xfrm>
            <a:prstGeom prst="rect">
              <a:avLst/>
            </a:prstGeom>
          </p:spPr>
        </p:pic>
        <p:pic>
          <p:nvPicPr>
            <p:cNvPr id="269" name="Bild 26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607367" y="5504868"/>
              <a:ext cx="125361" cy="207863"/>
            </a:xfrm>
            <a:prstGeom prst="rect">
              <a:avLst/>
            </a:prstGeom>
          </p:spPr>
        </p:pic>
        <p:pic>
          <p:nvPicPr>
            <p:cNvPr id="270" name="Bild 26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761768" y="5685096"/>
              <a:ext cx="125361" cy="207863"/>
            </a:xfrm>
            <a:prstGeom prst="rect">
              <a:avLst/>
            </a:prstGeom>
          </p:spPr>
        </p:pic>
        <p:pic>
          <p:nvPicPr>
            <p:cNvPr id="271" name="Bild 27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849939" y="5597418"/>
              <a:ext cx="125361" cy="207863"/>
            </a:xfrm>
            <a:prstGeom prst="rect">
              <a:avLst/>
            </a:prstGeom>
          </p:spPr>
        </p:pic>
        <p:pic>
          <p:nvPicPr>
            <p:cNvPr id="272" name="Bild 27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993714" y="5598316"/>
              <a:ext cx="125361" cy="207863"/>
            </a:xfrm>
            <a:prstGeom prst="rect">
              <a:avLst/>
            </a:prstGeom>
          </p:spPr>
        </p:pic>
        <p:pic>
          <p:nvPicPr>
            <p:cNvPr id="273" name="Bild 27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129295" y="5560174"/>
              <a:ext cx="125361" cy="207863"/>
            </a:xfrm>
            <a:prstGeom prst="rect">
              <a:avLst/>
            </a:prstGeom>
          </p:spPr>
        </p:pic>
        <p:pic>
          <p:nvPicPr>
            <p:cNvPr id="274" name="Bild 27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106603" y="5739382"/>
              <a:ext cx="125361" cy="207863"/>
            </a:xfrm>
            <a:prstGeom prst="rect">
              <a:avLst/>
            </a:prstGeom>
          </p:spPr>
        </p:pic>
        <p:pic>
          <p:nvPicPr>
            <p:cNvPr id="275" name="Bild 27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238329" y="5762884"/>
              <a:ext cx="125361" cy="207863"/>
            </a:xfrm>
            <a:prstGeom prst="rect">
              <a:avLst/>
            </a:prstGeom>
          </p:spPr>
        </p:pic>
        <p:pic>
          <p:nvPicPr>
            <p:cNvPr id="276" name="Bild 27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357745" y="5485621"/>
              <a:ext cx="125361" cy="207863"/>
            </a:xfrm>
            <a:prstGeom prst="rect">
              <a:avLst/>
            </a:prstGeom>
          </p:spPr>
        </p:pic>
        <p:pic>
          <p:nvPicPr>
            <p:cNvPr id="277" name="Bild 27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19343" y="5676104"/>
              <a:ext cx="125361" cy="207863"/>
            </a:xfrm>
            <a:prstGeom prst="rect">
              <a:avLst/>
            </a:prstGeom>
          </p:spPr>
        </p:pic>
        <p:pic>
          <p:nvPicPr>
            <p:cNvPr id="278" name="Bild 27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362466" y="5826282"/>
              <a:ext cx="125361" cy="207863"/>
            </a:xfrm>
            <a:prstGeom prst="rect">
              <a:avLst/>
            </a:prstGeom>
          </p:spPr>
        </p:pic>
        <p:pic>
          <p:nvPicPr>
            <p:cNvPr id="279" name="Bild 27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573905" y="5560173"/>
              <a:ext cx="125361" cy="207863"/>
            </a:xfrm>
            <a:prstGeom prst="rect">
              <a:avLst/>
            </a:prstGeom>
          </p:spPr>
        </p:pic>
        <p:pic>
          <p:nvPicPr>
            <p:cNvPr id="280" name="Bild 27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546205" y="5746471"/>
              <a:ext cx="125361" cy="207863"/>
            </a:xfrm>
            <a:prstGeom prst="rect">
              <a:avLst/>
            </a:prstGeom>
          </p:spPr>
        </p:pic>
        <p:pic>
          <p:nvPicPr>
            <p:cNvPr id="281" name="Bild 28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762683" y="5468636"/>
              <a:ext cx="125361" cy="207863"/>
            </a:xfrm>
            <a:prstGeom prst="rect">
              <a:avLst/>
            </a:prstGeom>
          </p:spPr>
        </p:pic>
        <p:pic>
          <p:nvPicPr>
            <p:cNvPr id="282" name="Bild 28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762308" y="5607436"/>
              <a:ext cx="125361" cy="207863"/>
            </a:xfrm>
            <a:prstGeom prst="rect">
              <a:avLst/>
            </a:prstGeom>
          </p:spPr>
        </p:pic>
        <p:pic>
          <p:nvPicPr>
            <p:cNvPr id="283" name="Bild 28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893816" y="5531519"/>
              <a:ext cx="125361" cy="207863"/>
            </a:xfrm>
            <a:prstGeom prst="rect">
              <a:avLst/>
            </a:prstGeom>
          </p:spPr>
        </p:pic>
        <p:pic>
          <p:nvPicPr>
            <p:cNvPr id="284" name="Bild 28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901066" y="5666477"/>
              <a:ext cx="125361" cy="207863"/>
            </a:xfrm>
            <a:prstGeom prst="rect">
              <a:avLst/>
            </a:prstGeom>
          </p:spPr>
        </p:pic>
        <p:pic>
          <p:nvPicPr>
            <p:cNvPr id="285" name="Bild 28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049257" y="5395186"/>
              <a:ext cx="125361" cy="207863"/>
            </a:xfrm>
            <a:prstGeom prst="rect">
              <a:avLst/>
            </a:prstGeom>
          </p:spPr>
        </p:pic>
        <p:pic>
          <p:nvPicPr>
            <p:cNvPr id="286" name="Bild 28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051291" y="5567509"/>
              <a:ext cx="125361" cy="207863"/>
            </a:xfrm>
            <a:prstGeom prst="rect">
              <a:avLst/>
            </a:prstGeom>
          </p:spPr>
        </p:pic>
        <p:pic>
          <p:nvPicPr>
            <p:cNvPr id="287" name="Bild 28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187125" y="5600312"/>
              <a:ext cx="125361" cy="207863"/>
            </a:xfrm>
            <a:prstGeom prst="rect">
              <a:avLst/>
            </a:prstGeom>
          </p:spPr>
        </p:pic>
        <p:pic>
          <p:nvPicPr>
            <p:cNvPr id="288" name="Bild 28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411000" y="5468241"/>
              <a:ext cx="125361" cy="207863"/>
            </a:xfrm>
            <a:prstGeom prst="rect">
              <a:avLst/>
            </a:prstGeom>
          </p:spPr>
        </p:pic>
        <p:pic>
          <p:nvPicPr>
            <p:cNvPr id="289" name="Bild 28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393208" y="5592265"/>
              <a:ext cx="125361" cy="207863"/>
            </a:xfrm>
            <a:prstGeom prst="rect">
              <a:avLst/>
            </a:prstGeom>
          </p:spPr>
        </p:pic>
        <p:pic>
          <p:nvPicPr>
            <p:cNvPr id="290" name="Bild 289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546834" y="5603744"/>
              <a:ext cx="125361" cy="207863"/>
            </a:xfrm>
            <a:prstGeom prst="rect">
              <a:avLst/>
            </a:prstGeom>
          </p:spPr>
        </p:pic>
        <p:pic>
          <p:nvPicPr>
            <p:cNvPr id="291" name="Bild 29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766220" y="5537316"/>
              <a:ext cx="125361" cy="207863"/>
            </a:xfrm>
            <a:prstGeom prst="rect">
              <a:avLst/>
            </a:prstGeom>
          </p:spPr>
        </p:pic>
        <p:pic>
          <p:nvPicPr>
            <p:cNvPr id="292" name="Bild 29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926815" y="5572172"/>
              <a:ext cx="125361" cy="207863"/>
            </a:xfrm>
            <a:prstGeom prst="rect">
              <a:avLst/>
            </a:prstGeom>
          </p:spPr>
        </p:pic>
        <p:pic>
          <p:nvPicPr>
            <p:cNvPr id="300" name="PIN ND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970606" y="4205482"/>
              <a:ext cx="680791" cy="1129993"/>
            </a:xfrm>
            <a:prstGeom prst="rect">
              <a:avLst/>
            </a:prstGeom>
            <a:effectLst>
              <a:outerShdw blurRad="254000" algn="ctr" rotWithShape="0">
                <a:prstClr val="black"/>
              </a:outerShdw>
            </a:effectLst>
          </p:spPr>
        </p:pic>
      </p:grpSp>
      <p:grpSp>
        <p:nvGrpSpPr>
          <p:cNvPr id="301" name="Gruppieren 300">
            <a:extLst>
              <a:ext uri="{FF2B5EF4-FFF2-40B4-BE49-F238E27FC236}">
                <a16:creationId xmlns:a16="http://schemas.microsoft.com/office/drawing/2014/main" id="{B9E3605F-9C09-9F49-96D4-84522F710522}"/>
              </a:ext>
            </a:extLst>
          </p:cNvPr>
          <p:cNvGrpSpPr/>
          <p:nvPr/>
        </p:nvGrpSpPr>
        <p:grpSpPr>
          <a:xfrm>
            <a:off x="7963661" y="3583101"/>
            <a:ext cx="3256966" cy="1714867"/>
            <a:chOff x="8623805" y="2995638"/>
            <a:chExt cx="3256966" cy="1714867"/>
          </a:xfrm>
        </p:grpSpPr>
        <p:sp>
          <p:nvSpPr>
            <p:cNvPr id="302" name="Textfeld 301">
              <a:extLst>
                <a:ext uri="{FF2B5EF4-FFF2-40B4-BE49-F238E27FC236}">
                  <a16:creationId xmlns:a16="http://schemas.microsoft.com/office/drawing/2014/main" id="{66C6AF6C-C204-5B4D-BDC4-CDC16430E8BD}"/>
                </a:ext>
              </a:extLst>
            </p:cNvPr>
            <p:cNvSpPr txBox="1"/>
            <p:nvPr/>
          </p:nvSpPr>
          <p:spPr>
            <a:xfrm>
              <a:off x="8623805" y="2995638"/>
              <a:ext cx="3256966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4000" b="1" dirty="0">
                  <a:solidFill>
                    <a:schemeClr val="bg2"/>
                  </a:solidFill>
                  <a:latin typeface="DINPro-Black" panose="02000503030000020004" pitchFamily="2" charset="0"/>
                  <a:ea typeface="Arial Black" charset="0"/>
                  <a:cs typeface="Arial Black" charset="0"/>
                </a:rPr>
                <a:t>1,1 </a:t>
              </a:r>
              <a:r>
                <a:rPr lang="ru-RU" sz="4000" b="1" dirty="0">
                  <a:solidFill>
                    <a:schemeClr val="bg2"/>
                  </a:solidFill>
                  <a:latin typeface="DINPro-Black" panose="02000503030000020004" pitchFamily="2" charset="0"/>
                  <a:ea typeface="Arial Black" charset="0"/>
                  <a:cs typeface="Arial Black" charset="0"/>
                </a:rPr>
                <a:t>млрд.</a:t>
              </a:r>
              <a:r>
                <a:rPr lang="de-DE" sz="4000" b="1" dirty="0">
                  <a:solidFill>
                    <a:schemeClr val="bg2"/>
                  </a:solidFill>
                  <a:latin typeface="DINPro-Black" panose="02000503030000020004" pitchFamily="2" charset="0"/>
                  <a:ea typeface="Arial Black" charset="0"/>
                  <a:cs typeface="Arial Black" charset="0"/>
                </a:rPr>
                <a:t> €</a:t>
              </a:r>
              <a:endParaRPr lang="de-DE" sz="1400" b="1" dirty="0">
                <a:solidFill>
                  <a:schemeClr val="bg2"/>
                </a:solidFill>
                <a:latin typeface="DINPro-Black" panose="02000503030000020004" pitchFamily="2" charset="0"/>
                <a:ea typeface="Arial Black" charset="0"/>
                <a:cs typeface="Arial Black" charset="0"/>
              </a:endParaRPr>
            </a:p>
          </p:txBody>
        </p:sp>
        <p:sp>
          <p:nvSpPr>
            <p:cNvPr id="303" name="Textfeld 302">
              <a:extLst>
                <a:ext uri="{FF2B5EF4-FFF2-40B4-BE49-F238E27FC236}">
                  <a16:creationId xmlns:a16="http://schemas.microsoft.com/office/drawing/2014/main" id="{890B6BBF-8387-6E43-9F66-907623680CEB}"/>
                </a:ext>
              </a:extLst>
            </p:cNvPr>
            <p:cNvSpPr txBox="1"/>
            <p:nvPr/>
          </p:nvSpPr>
          <p:spPr>
            <a:xfrm>
              <a:off x="8623805" y="3602509"/>
              <a:ext cx="2895985" cy="110799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2400" b="1" dirty="0">
                  <a:solidFill>
                    <a:schemeClr val="tx2"/>
                  </a:solidFill>
                  <a:latin typeface="DINPro-Black" panose="02000503030000020004" pitchFamily="2" charset="0"/>
                  <a:cs typeface="Arial Black" charset="0"/>
                </a:rPr>
                <a:t>годовой оборот</a:t>
              </a:r>
              <a:r>
                <a:rPr lang="de-DE" sz="2400" b="1" dirty="0">
                  <a:solidFill>
                    <a:schemeClr val="tx2"/>
                  </a:solidFill>
                  <a:latin typeface="DINPro-Black" panose="02000503030000020004" pitchFamily="2" charset="0"/>
                  <a:cs typeface="Arial Black" charset="0"/>
                </a:rPr>
                <a:t> </a:t>
              </a:r>
              <a:r>
                <a:rPr lang="ru-RU" sz="2400" b="1" dirty="0">
                  <a:solidFill>
                    <a:schemeClr val="tx2"/>
                  </a:solidFill>
                  <a:latin typeface="DINPro-Black" panose="02000503030000020004" pitchFamily="2" charset="0"/>
                  <a:cs typeface="Arial Black" charset="0"/>
                </a:rPr>
                <a:t>организации в целом</a:t>
              </a:r>
              <a:br>
                <a:rPr lang="de-DE" sz="2400" b="1" dirty="0">
                  <a:solidFill>
                    <a:schemeClr val="tx2"/>
                  </a:solidFill>
                  <a:latin typeface="DINPro-Black" panose="02000503030000020004" pitchFamily="2" charset="0"/>
                  <a:cs typeface="Arial Black" charset="0"/>
                </a:rPr>
              </a:br>
              <a:endParaRPr lang="de-DE" sz="2400" dirty="0">
                <a:solidFill>
                  <a:schemeClr val="tx2"/>
                </a:solidFill>
                <a:latin typeface="DINPro-Regular" panose="02000503030000020003" pitchFamily="2" charset="0"/>
                <a:cs typeface="Arial Black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91089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5FA24D3-8728-D947-95B5-727A81A996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b="0" dirty="0">
                <a:solidFill>
                  <a:srgbClr val="414140"/>
                </a:solidFill>
                <a:latin typeface="DINPro-Regular" panose="02000503030000020003" pitchFamily="2" charset="0"/>
              </a:rPr>
              <a:t>12 </a:t>
            </a:r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</a:rPr>
              <a:t>стран:</a:t>
            </a:r>
            <a:endParaRPr lang="de-DE" b="0" dirty="0">
              <a:solidFill>
                <a:srgbClr val="414140"/>
              </a:solidFill>
              <a:latin typeface="DINPro-Regular" panose="02000503030000020003" pitchFamily="2" charset="0"/>
            </a:endParaRPr>
          </a:p>
          <a:p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</a:rPr>
              <a:t>- Австрия</a:t>
            </a:r>
            <a:r>
              <a:rPr lang="de-DE" b="0" dirty="0">
                <a:solidFill>
                  <a:srgbClr val="414140"/>
                </a:solidFill>
                <a:latin typeface="DINPro-Regular" panose="02000503030000020003" pitchFamily="2" charset="0"/>
              </a:rPr>
              <a:t>, </a:t>
            </a:r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</a:rPr>
              <a:t>Швейцария</a:t>
            </a:r>
            <a:r>
              <a:rPr lang="de-DE" b="0" dirty="0">
                <a:solidFill>
                  <a:srgbClr val="414140"/>
                </a:solidFill>
                <a:latin typeface="DINPro-Regular" panose="02000503030000020003" pitchFamily="2" charset="0"/>
              </a:rPr>
              <a:t>, </a:t>
            </a:r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</a:rPr>
              <a:t>Швеция</a:t>
            </a:r>
            <a:r>
              <a:rPr lang="de-DE" b="0" dirty="0">
                <a:solidFill>
                  <a:srgbClr val="414140"/>
                </a:solidFill>
                <a:latin typeface="DINPro-Regular" panose="02000503030000020003" pitchFamily="2" charset="0"/>
              </a:rPr>
              <a:t>, </a:t>
            </a:r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</a:rPr>
              <a:t>Англия </a:t>
            </a:r>
            <a:r>
              <a:rPr lang="de-DE" b="0" dirty="0">
                <a:solidFill>
                  <a:srgbClr val="414140"/>
                </a:solidFill>
                <a:latin typeface="DINPro-Regular" panose="02000503030000020003" pitchFamily="2" charset="0"/>
              </a:rPr>
              <a:t>…</a:t>
            </a:r>
          </a:p>
          <a:p>
            <a:endParaRPr lang="de-DE" b="0" dirty="0">
              <a:solidFill>
                <a:srgbClr val="414140"/>
              </a:solidFill>
              <a:latin typeface="DINPro-Regular" panose="02000503030000020003" pitchFamily="2" charset="0"/>
            </a:endParaRPr>
          </a:p>
          <a:p>
            <a:r>
              <a:rPr lang="de-DE" b="0" dirty="0">
                <a:solidFill>
                  <a:srgbClr val="414140"/>
                </a:solidFill>
                <a:latin typeface="DINPro-Regular" panose="02000503030000020003" pitchFamily="2" charset="0"/>
              </a:rPr>
              <a:t>300.000 </a:t>
            </a:r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</a:rPr>
              <a:t>предприятий</a:t>
            </a:r>
            <a:endParaRPr lang="de-DE" b="0" dirty="0">
              <a:solidFill>
                <a:srgbClr val="414140"/>
              </a:solidFill>
              <a:latin typeface="DINPro-Regular" panose="02000503030000020003" pitchFamily="2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9069E80-1990-544C-BA75-E272CC0379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561F503-B42A-AA4B-906E-BE29581235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ЕВРОП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151777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5FA24D3-8728-D947-95B5-727A81A996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764" y="1436263"/>
            <a:ext cx="10267123" cy="4266000"/>
          </a:xfrm>
        </p:spPr>
        <p:txBody>
          <a:bodyPr/>
          <a:lstStyle/>
          <a:p>
            <a:r>
              <a:rPr lang="de-DE" dirty="0">
                <a:solidFill>
                  <a:srgbClr val="65B32E"/>
                </a:solidFill>
                <a:latin typeface="DINPro-Black" panose="02000503030000020004" pitchFamily="2" charset="0"/>
              </a:rPr>
              <a:t>A) </a:t>
            </a:r>
            <a:r>
              <a:rPr lang="ru-RU" b="0" dirty="0">
                <a:solidFill>
                  <a:srgbClr val="414140"/>
                </a:solidFill>
                <a:latin typeface="DINPro-Black" panose="02000503030000020004" pitchFamily="2" charset="0"/>
              </a:rPr>
              <a:t>Самостоятельные оперативные подразделения на местах</a:t>
            </a:r>
            <a:r>
              <a:rPr lang="de-DE" b="0" dirty="0">
                <a:solidFill>
                  <a:srgbClr val="414140"/>
                </a:solidFill>
                <a:latin typeface="DINPro-Black" panose="02000503030000020004" pitchFamily="2" charset="0"/>
              </a:rPr>
              <a:t>: </a:t>
            </a:r>
            <a:r>
              <a:rPr lang="ru-RU" b="0" dirty="0">
                <a:solidFill>
                  <a:srgbClr val="414140"/>
                </a:solidFill>
                <a:latin typeface="DINPro-Black" panose="02000503030000020004" pitchFamily="2" charset="0"/>
              </a:rPr>
              <a:t>товарищества по совместному использованию с/х техники </a:t>
            </a:r>
          </a:p>
          <a:p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- в среднем</a:t>
            </a: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 1.000 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членов товарищества</a:t>
            </a:r>
            <a:endParaRPr lang="de-DE" sz="2000" b="0" dirty="0">
              <a:solidFill>
                <a:srgbClr val="414140"/>
              </a:solidFill>
              <a:latin typeface="DINPro-Regular" panose="02000503030000020003" pitchFamily="2" charset="0"/>
            </a:endParaRPr>
          </a:p>
          <a:p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- офисы численностью </a:t>
            </a: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3-20 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сотрудников</a:t>
            </a: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 </a:t>
            </a:r>
          </a:p>
          <a:p>
            <a:pPr marL="522900" lvl="2" indent="-342900">
              <a:buFontTx/>
              <a:buChar char="-"/>
            </a:pPr>
            <a:r>
              <a:rPr lang="ru-RU" sz="1600" dirty="0">
                <a:solidFill>
                  <a:srgbClr val="414140"/>
                </a:solidFill>
              </a:rPr>
              <a:t>классическое товарищество</a:t>
            </a:r>
            <a:r>
              <a:rPr lang="de-DE" sz="1600" dirty="0">
                <a:solidFill>
                  <a:srgbClr val="414140"/>
                </a:solidFill>
              </a:rPr>
              <a:t>: </a:t>
            </a:r>
            <a:r>
              <a:rPr lang="ru-RU" sz="1600" dirty="0">
                <a:solidFill>
                  <a:srgbClr val="414140"/>
                </a:solidFill>
              </a:rPr>
              <a:t>техника</a:t>
            </a:r>
            <a:endParaRPr lang="de-DE" sz="1600" dirty="0">
              <a:solidFill>
                <a:srgbClr val="414140"/>
              </a:solidFill>
            </a:endParaRPr>
          </a:p>
          <a:p>
            <a:pPr marL="522900" lvl="2" indent="-342900">
              <a:buFontTx/>
              <a:buChar char="-"/>
            </a:pPr>
            <a:r>
              <a:rPr lang="ru-RU" sz="1600" dirty="0">
                <a:solidFill>
                  <a:srgbClr val="414140"/>
                </a:solidFill>
              </a:rPr>
              <a:t>хозяйственное общество с ограниченной ответственностью  </a:t>
            </a:r>
            <a:endParaRPr lang="de-DE" sz="1600" dirty="0">
              <a:solidFill>
                <a:srgbClr val="414140"/>
              </a:solidFill>
            </a:endParaRPr>
          </a:p>
          <a:p>
            <a:br>
              <a:rPr lang="ru-RU" sz="2000" dirty="0">
                <a:solidFill>
                  <a:srgbClr val="65B32E"/>
                </a:solidFill>
                <a:latin typeface="DINPro-Black" panose="02000503030000020004" pitchFamily="2" charset="0"/>
              </a:rPr>
            </a:br>
            <a:r>
              <a:rPr lang="de-DE" dirty="0">
                <a:solidFill>
                  <a:srgbClr val="65B32E"/>
                </a:solidFill>
                <a:latin typeface="DINPro-Black" panose="02000503030000020004" pitchFamily="2" charset="0"/>
              </a:rPr>
              <a:t>B) </a:t>
            </a:r>
            <a:r>
              <a:rPr lang="ru-RU" b="0" dirty="0">
                <a:solidFill>
                  <a:srgbClr val="414140"/>
                </a:solidFill>
                <a:latin typeface="DINPro-Black" panose="02000503030000020004" pitchFamily="2" charset="0"/>
              </a:rPr>
              <a:t>Центральные подразделения</a:t>
            </a:r>
            <a:endParaRPr lang="de-DE" b="0" dirty="0">
              <a:solidFill>
                <a:srgbClr val="414140"/>
              </a:solidFill>
              <a:latin typeface="DINPro-Black" panose="02000503030000020004" pitchFamily="2" charset="0"/>
            </a:endParaRPr>
          </a:p>
          <a:p>
            <a:pPr marL="342900" indent="-342900">
              <a:buFontTx/>
              <a:buChar char="-"/>
            </a:pPr>
            <a:r>
              <a:rPr lang="ru-RU" sz="1600" b="0" dirty="0">
                <a:solidFill>
                  <a:srgbClr val="414140"/>
                </a:solidFill>
                <a:latin typeface="DINPro-Regular" panose="02000503030000020003" pitchFamily="2" charset="0"/>
              </a:rPr>
              <a:t>современный союз</a:t>
            </a:r>
            <a:r>
              <a:rPr lang="de-DE" sz="1600" b="0" dirty="0">
                <a:solidFill>
                  <a:srgbClr val="414140"/>
                </a:solidFill>
                <a:latin typeface="DINPro-Regular" panose="02000503030000020003" pitchFamily="2" charset="0"/>
              </a:rPr>
              <a:t>: </a:t>
            </a:r>
            <a:r>
              <a:rPr lang="ru-RU" sz="1600" b="0" dirty="0">
                <a:solidFill>
                  <a:srgbClr val="414140"/>
                </a:solidFill>
                <a:latin typeface="DINPro-Regular" panose="02000503030000020003" pitchFamily="2" charset="0"/>
              </a:rPr>
              <a:t>академия, централизованная ИТ</a:t>
            </a:r>
            <a:r>
              <a:rPr lang="de-DE" sz="1600" b="0" dirty="0">
                <a:solidFill>
                  <a:srgbClr val="414140"/>
                </a:solidFill>
                <a:latin typeface="DINPro-Regular" panose="02000503030000020003" pitchFamily="2" charset="0"/>
              </a:rPr>
              <a:t>, </a:t>
            </a:r>
            <a:r>
              <a:rPr lang="ru-RU" sz="1600" b="0" dirty="0">
                <a:solidFill>
                  <a:srgbClr val="414140"/>
                </a:solidFill>
                <a:latin typeface="DINPro-Regular" panose="02000503030000020003" pitchFamily="2" charset="0"/>
              </a:rPr>
              <a:t>отдел коммуникации и маркетинга</a:t>
            </a:r>
            <a:r>
              <a:rPr lang="de-DE" sz="1600" b="0" dirty="0">
                <a:solidFill>
                  <a:srgbClr val="414140"/>
                </a:solidFill>
                <a:latin typeface="DINPro-Regular" panose="02000503030000020003" pitchFamily="2" charset="0"/>
              </a:rPr>
              <a:t>, </a:t>
            </a:r>
            <a:r>
              <a:rPr lang="ru-RU" sz="1600" b="0" dirty="0">
                <a:solidFill>
                  <a:srgbClr val="414140"/>
                </a:solidFill>
                <a:latin typeface="DINPro-Regular" panose="02000503030000020003" pitchFamily="2" charset="0"/>
              </a:rPr>
              <a:t>журнал</a:t>
            </a:r>
            <a:r>
              <a:rPr lang="de-DE" sz="1600" b="0" dirty="0">
                <a:solidFill>
                  <a:srgbClr val="414140"/>
                </a:solidFill>
                <a:latin typeface="DINPro-Regular" panose="02000503030000020003" pitchFamily="2" charset="0"/>
              </a:rPr>
              <a:t>, </a:t>
            </a:r>
            <a:r>
              <a:rPr lang="ru-RU" sz="1600" b="0" dirty="0">
                <a:solidFill>
                  <a:srgbClr val="414140"/>
                </a:solidFill>
                <a:latin typeface="DINPro-Regular" panose="02000503030000020003" pitchFamily="2" charset="0"/>
              </a:rPr>
              <a:t>социальные медиа</a:t>
            </a:r>
            <a:endParaRPr lang="de-DE" sz="1600" b="0" dirty="0">
              <a:solidFill>
                <a:srgbClr val="414140"/>
              </a:solidFill>
              <a:latin typeface="DINPro-Regular" panose="02000503030000020003" pitchFamily="2" charset="0"/>
            </a:endParaRPr>
          </a:p>
          <a:p>
            <a:pPr marL="342900" indent="-342900">
              <a:buFontTx/>
              <a:buChar char="-"/>
            </a:pPr>
            <a:r>
              <a:rPr lang="ru-RU" sz="1600" b="0" dirty="0">
                <a:solidFill>
                  <a:srgbClr val="414140"/>
                </a:solidFill>
                <a:latin typeface="DINPro-Regular" panose="02000503030000020003" pitchFamily="2" charset="0"/>
              </a:rPr>
              <a:t>хозяйственное подразделение</a:t>
            </a:r>
            <a:r>
              <a:rPr lang="de-DE" sz="1600" b="0" dirty="0">
                <a:solidFill>
                  <a:srgbClr val="414140"/>
                </a:solidFill>
                <a:latin typeface="DINPro-Regular" panose="02000503030000020003" pitchFamily="2" charset="0"/>
              </a:rPr>
              <a:t>: </a:t>
            </a:r>
            <a:r>
              <a:rPr lang="ru-RU" sz="1600" b="0" dirty="0">
                <a:solidFill>
                  <a:srgbClr val="414140"/>
                </a:solidFill>
                <a:latin typeface="DINPro-Regular" panose="02000503030000020003" pitchFamily="2" charset="0"/>
              </a:rPr>
              <a:t>общество с ограниченной ответственностью (</a:t>
            </a:r>
            <a:r>
              <a:rPr lang="de-DE" sz="1600" b="0" dirty="0">
                <a:solidFill>
                  <a:srgbClr val="414140"/>
                </a:solidFill>
                <a:latin typeface="DINPro-Regular" panose="02000503030000020003" pitchFamily="2" charset="0"/>
              </a:rPr>
              <a:t>GmbH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)</a:t>
            </a:r>
            <a:endParaRPr lang="de-DE" sz="2000" b="0" dirty="0">
              <a:solidFill>
                <a:srgbClr val="414140"/>
              </a:solidFill>
              <a:latin typeface="DINPro-Regular" panose="02000503030000020003" pitchFamily="2" charset="0"/>
            </a:endParaRPr>
          </a:p>
          <a:p>
            <a:pPr lvl="2" indent="0">
              <a:buNone/>
            </a:pP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9069E80-1990-544C-BA75-E272CC0379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0764" y="646048"/>
            <a:ext cx="11233150" cy="369332"/>
          </a:xfrm>
        </p:spPr>
        <p:txBody>
          <a:bodyPr/>
          <a:lstStyle/>
          <a:p>
            <a:r>
              <a:rPr lang="ru-RU" dirty="0"/>
              <a:t>Сочетание двух элементов:</a:t>
            </a:r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561F503-B42A-AA4B-906E-BE29581235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103" y="225165"/>
            <a:ext cx="11233150" cy="430887"/>
          </a:xfrm>
        </p:spPr>
        <p:txBody>
          <a:bodyPr/>
          <a:lstStyle/>
          <a:p>
            <a:r>
              <a:rPr lang="ru-RU" dirty="0"/>
              <a:t>СТРУКТУР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76760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9069E80-1990-544C-BA75-E272CC0379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795338"/>
            <a:ext cx="11233150" cy="307777"/>
          </a:xfrm>
        </p:spPr>
        <p:txBody>
          <a:bodyPr/>
          <a:lstStyle/>
          <a:p>
            <a:r>
              <a:rPr lang="ru-RU" sz="2000" dirty="0"/>
              <a:t>(тираж по данным на 1 декабря 2020 г.)</a:t>
            </a:r>
            <a:endParaRPr lang="de-DE" sz="200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561F503-B42A-AA4B-906E-BE29581235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44803"/>
            <a:ext cx="11233150" cy="430887"/>
          </a:xfrm>
        </p:spPr>
        <p:txBody>
          <a:bodyPr/>
          <a:lstStyle/>
          <a:p>
            <a:r>
              <a:rPr lang="ru-RU" dirty="0"/>
              <a:t>Журнал «</a:t>
            </a:r>
            <a:r>
              <a:rPr lang="en-US" dirty="0" err="1"/>
              <a:t>Maschinenring</a:t>
            </a:r>
            <a:r>
              <a:rPr lang="ru-RU" dirty="0"/>
              <a:t>» </a:t>
            </a:r>
            <a:endParaRPr lang="de-DE" sz="2000" cap="none" dirty="0">
              <a:solidFill>
                <a:schemeClr val="tx1"/>
              </a:solidFill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CD477E4-7970-45CE-9245-FCCC02D7EB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58950D3-F478-44C8-A94F-AA88A0891B99}"/>
              </a:ext>
            </a:extLst>
          </p:cNvPr>
          <p:cNvGrpSpPr/>
          <p:nvPr/>
        </p:nvGrpSpPr>
        <p:grpSpPr>
          <a:xfrm>
            <a:off x="8076711" y="411215"/>
            <a:ext cx="3387181" cy="1915441"/>
            <a:chOff x="5661663" y="94051"/>
            <a:chExt cx="2449478" cy="1377072"/>
          </a:xfrm>
        </p:grpSpPr>
        <p:pic>
          <p:nvPicPr>
            <p:cNvPr id="9" name="Grafik 8" descr="Ein Bild, das Text, Person, haltend, Mobiltelefon enthält.&#10;&#10;Automatisch generierte Beschreibung">
              <a:extLst>
                <a:ext uri="{FF2B5EF4-FFF2-40B4-BE49-F238E27FC236}">
                  <a16:creationId xmlns:a16="http://schemas.microsoft.com/office/drawing/2014/main" id="{472A0D25-0FD5-4330-9138-EDD3D2B9A10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9800000">
              <a:off x="5661663" y="261430"/>
              <a:ext cx="832892" cy="105418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0" name="Grafik 9" descr="Ein Bild, das Text, Person, Mann, grün enthält.&#10;&#10;Automatisch generierte Beschreibung">
              <a:extLst>
                <a:ext uri="{FF2B5EF4-FFF2-40B4-BE49-F238E27FC236}">
                  <a16:creationId xmlns:a16="http://schemas.microsoft.com/office/drawing/2014/main" id="{DB153815-F5C0-4B30-BF8D-19CFB33FE76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0700000">
              <a:off x="6105282" y="94051"/>
              <a:ext cx="829207" cy="10548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1" name="Grafik 10" descr="Ein Bild, das Text, Person, draußen enthält.&#10;&#10;Automatisch generierte Beschreibung">
              <a:extLst>
                <a:ext uri="{FF2B5EF4-FFF2-40B4-BE49-F238E27FC236}">
                  <a16:creationId xmlns:a16="http://schemas.microsoft.com/office/drawing/2014/main" id="{132098E0-D180-4631-968A-2495A1CE287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77496" y="191446"/>
              <a:ext cx="837800" cy="10548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2" name="Grafik 11" descr="Ein Bild, das Text, Person, stehend, darstellend enthält.&#10;&#10;Automatisch generierte Beschreibung">
              <a:extLst>
                <a:ext uri="{FF2B5EF4-FFF2-40B4-BE49-F238E27FC236}">
                  <a16:creationId xmlns:a16="http://schemas.microsoft.com/office/drawing/2014/main" id="{E77EFB08-09AD-45BF-9E4A-931F97B87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900000">
              <a:off x="6889733" y="109140"/>
              <a:ext cx="837143" cy="10548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3" name="Grafik 12" descr="Ein Bild, das Text, Person, Mann enthält.&#10;&#10;Automatisch generierte Beschreibung">
              <a:extLst>
                <a:ext uri="{FF2B5EF4-FFF2-40B4-BE49-F238E27FC236}">
                  <a16:creationId xmlns:a16="http://schemas.microsoft.com/office/drawing/2014/main" id="{D0E1E6C7-4ABD-44E8-9949-1224EAE5048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00000">
              <a:off x="7276647" y="416323"/>
              <a:ext cx="834494" cy="10548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pic>
        <p:nvPicPr>
          <p:cNvPr id="14" name="Grafik 13">
            <a:extLst>
              <a:ext uri="{FF2B5EF4-FFF2-40B4-BE49-F238E27FC236}">
                <a16:creationId xmlns:a16="http://schemas.microsoft.com/office/drawing/2014/main" id="{56F9C991-3E00-46C7-907C-BFF8928DF85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114"/>
          <a:stretch/>
        </p:blipFill>
        <p:spPr>
          <a:xfrm>
            <a:off x="450881" y="1941860"/>
            <a:ext cx="7625830" cy="3095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15808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9069E80-1990-544C-BA75-E272CC0379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561F503-B42A-AA4B-906E-BE29581235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аКАДЕМИЯ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CD477E4-7970-45CE-9245-FCCC02D7EB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800" y="1573201"/>
            <a:ext cx="6279051" cy="4266000"/>
          </a:xfrm>
        </p:spPr>
        <p:txBody>
          <a:bodyPr/>
          <a:lstStyle/>
          <a:p>
            <a:r>
              <a:rPr lang="de-DE" sz="2000" dirty="0">
                <a:solidFill>
                  <a:srgbClr val="65B32E"/>
                </a:solidFill>
                <a:latin typeface="DINPro-Regular" panose="02000503030000020003" pitchFamily="2" charset="0"/>
              </a:rPr>
              <a:t>&gt;&gt; 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Семинары</a:t>
            </a: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, 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учебные курсы и сертификационные для работников машинных рингов, для их членов и для предприятий, связанных с сельским хозяйством</a:t>
            </a:r>
            <a:endParaRPr lang="de-DE" sz="2000" b="0" dirty="0">
              <a:solidFill>
                <a:srgbClr val="414140"/>
              </a:solidFill>
              <a:latin typeface="DINPro-Regular" panose="02000503030000020003" pitchFamily="2" charset="0"/>
            </a:endParaRPr>
          </a:p>
          <a:p>
            <a:r>
              <a:rPr lang="de-DE" sz="2000" dirty="0">
                <a:solidFill>
                  <a:srgbClr val="65B32E"/>
                </a:solidFill>
                <a:latin typeface="DINPro-Regular" panose="02000503030000020003" pitchFamily="2" charset="0"/>
              </a:rPr>
              <a:t>&gt;&gt; 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более </a:t>
            </a: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100 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тем в портфолио</a:t>
            </a:r>
            <a:endParaRPr lang="de-DE" sz="2000" b="0" dirty="0">
              <a:solidFill>
                <a:srgbClr val="414140"/>
              </a:solidFill>
              <a:latin typeface="DINPro-Regular" panose="02000503030000020003" pitchFamily="2" charset="0"/>
            </a:endParaRPr>
          </a:p>
          <a:p>
            <a:r>
              <a:rPr lang="ru-RU" sz="1800" b="0" dirty="0">
                <a:latin typeface="DINPro-Regular" panose="02000503030000020003" pitchFamily="2" charset="0"/>
              </a:rPr>
              <a:t>Несколько примеров тем</a:t>
            </a:r>
            <a:r>
              <a:rPr lang="de-DE" sz="1800" b="0" dirty="0">
                <a:latin typeface="DINPro-Regular" panose="02000503030000020003" pitchFamily="2" charset="0"/>
              </a:rPr>
              <a:t>: </a:t>
            </a:r>
            <a:br>
              <a:rPr lang="ru-RU" sz="1800" b="0" dirty="0">
                <a:latin typeface="DINPro-Regular" panose="02000503030000020003" pitchFamily="2" charset="0"/>
              </a:rPr>
            </a:br>
            <a:br>
              <a:rPr lang="ru-RU" sz="1800" b="0" dirty="0">
                <a:latin typeface="DINPro-Regular" panose="02000503030000020003" pitchFamily="2" charset="0"/>
              </a:rPr>
            </a:br>
            <a:r>
              <a:rPr lang="ru-RU" sz="1800" b="0" dirty="0">
                <a:latin typeface="DINPro-Regular" panose="02000503030000020003" pitchFamily="2" charset="0"/>
              </a:rPr>
              <a:t>- обработка и повышение плодородия почв</a:t>
            </a:r>
            <a:r>
              <a:rPr lang="de-DE" sz="1800" b="0" dirty="0">
                <a:latin typeface="DINPro-Regular" panose="02000503030000020003" pitchFamily="2" charset="0"/>
              </a:rPr>
              <a:t>, </a:t>
            </a:r>
            <a:br>
              <a:rPr lang="ru-RU" sz="1800" b="0" dirty="0">
                <a:latin typeface="DINPro-Regular" panose="02000503030000020003" pitchFamily="2" charset="0"/>
              </a:rPr>
            </a:br>
            <a:r>
              <a:rPr lang="ru-RU" sz="1800" b="0" dirty="0">
                <a:latin typeface="DINPro-Regular" panose="02000503030000020003" pitchFamily="2" charset="0"/>
              </a:rPr>
              <a:t>- регенеративное сельское хозяйство,</a:t>
            </a:r>
            <a:r>
              <a:rPr lang="de-DE" sz="1800" b="0" dirty="0">
                <a:latin typeface="DINPro-Regular" panose="02000503030000020003" pitchFamily="2" charset="0"/>
              </a:rPr>
              <a:t> </a:t>
            </a:r>
            <a:br>
              <a:rPr lang="ru-RU" sz="1800" b="0" dirty="0">
                <a:latin typeface="DINPro-Regular" panose="02000503030000020003" pitchFamily="2" charset="0"/>
              </a:rPr>
            </a:br>
            <a:r>
              <a:rPr lang="ru-RU" sz="1800" b="0" dirty="0">
                <a:latin typeface="DINPro-Regular" panose="02000503030000020003" pitchFamily="2" charset="0"/>
              </a:rPr>
              <a:t>- конфликт-менеджмент в аграрной сфере</a:t>
            </a:r>
            <a:r>
              <a:rPr lang="de-DE" sz="1800" b="0" dirty="0">
                <a:latin typeface="DINPro-Regular" panose="02000503030000020003" pitchFamily="2" charset="0"/>
              </a:rPr>
              <a:t>, </a:t>
            </a:r>
            <a:br>
              <a:rPr lang="ru-RU" sz="1800" b="0" dirty="0">
                <a:latin typeface="DINPro-Regular" panose="02000503030000020003" pitchFamily="2" charset="0"/>
              </a:rPr>
            </a:br>
            <a:r>
              <a:rPr lang="ru-RU" sz="1800" b="0" dirty="0">
                <a:latin typeface="DINPro-Regular" panose="02000503030000020003" pitchFamily="2" charset="0"/>
              </a:rPr>
              <a:t>- бухучет для сельхозпроизводителей.</a:t>
            </a:r>
            <a:endParaRPr lang="de-DE" sz="1800" b="0" dirty="0">
              <a:latin typeface="DINPro-Regular" panose="02000503030000020003" pitchFamily="2" charset="0"/>
            </a:endParaRPr>
          </a:p>
          <a:p>
            <a:endParaRPr lang="de-DE" sz="2400" b="0" dirty="0">
              <a:solidFill>
                <a:srgbClr val="414140"/>
              </a:solidFill>
              <a:latin typeface="DINPro-Regular" panose="02000503030000020003" pitchFamily="2" charset="0"/>
            </a:endParaRPr>
          </a:p>
          <a:p>
            <a:endParaRPr lang="de-DE" dirty="0"/>
          </a:p>
        </p:txBody>
      </p:sp>
      <p:pic>
        <p:nvPicPr>
          <p:cNvPr id="5" name="Grafik 4" descr="Ein Bild, das draußen, Boden, Person, Outdoorobjekt enthält.&#10;&#10;Automatisch generierte Beschreibung">
            <a:extLst>
              <a:ext uri="{FF2B5EF4-FFF2-40B4-BE49-F238E27FC236}">
                <a16:creationId xmlns:a16="http://schemas.microsoft.com/office/drawing/2014/main" id="{C64C5227-A1A0-4C65-8B09-94DBF7B54F8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1720" y="1594883"/>
            <a:ext cx="4638000" cy="30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5445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5FA24D3-8728-D947-95B5-727A81A996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4155" y="1389077"/>
            <a:ext cx="7367623" cy="5187195"/>
          </a:xfrm>
        </p:spPr>
        <p:txBody>
          <a:bodyPr/>
          <a:lstStyle/>
          <a:p>
            <a:r>
              <a:rPr lang="ru-RU" dirty="0">
                <a:solidFill>
                  <a:srgbClr val="414140"/>
                </a:solidFill>
                <a:latin typeface="DINPro-Black" panose="02000503030000020004" pitchFamily="2" charset="0"/>
                <a:cs typeface="Arial" panose="020B0604020202020204" pitchFamily="34" charset="0"/>
              </a:rPr>
              <a:t>Децентрализованные подразделения</a:t>
            </a:r>
            <a:r>
              <a:rPr lang="de-DE" dirty="0">
                <a:solidFill>
                  <a:srgbClr val="414140"/>
                </a:solidFill>
                <a:latin typeface="DINPro-Black" panose="02000503030000020004" pitchFamily="2" charset="0"/>
                <a:cs typeface="Arial" panose="020B0604020202020204" pitchFamily="34" charset="0"/>
              </a:rPr>
              <a:t>:</a:t>
            </a:r>
          </a:p>
          <a:p>
            <a:pPr marL="342900" indent="-342900">
              <a:buFontTx/>
              <a:buChar char="-"/>
            </a:pP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дополнительный доход</a:t>
            </a: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: 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уборка в зимний </a:t>
            </a:r>
            <a:b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</a:b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период</a:t>
            </a: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, 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уход за зелеными насаждениями</a:t>
            </a:r>
            <a:endParaRPr lang="de-DE" sz="2000" b="0" dirty="0">
              <a:solidFill>
                <a:srgbClr val="414140"/>
              </a:solidFill>
              <a:latin typeface="DINPro-Regular" panose="02000503030000020003" pitchFamily="2" charset="0"/>
            </a:endParaRPr>
          </a:p>
          <a:p>
            <a:pPr marL="342900" indent="-342900">
              <a:buFontTx/>
              <a:buChar char="-"/>
            </a:pP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Энергетика</a:t>
            </a: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: </a:t>
            </a:r>
            <a:r>
              <a:rPr lang="ru-RU" sz="2000" b="0" dirty="0" err="1">
                <a:solidFill>
                  <a:srgbClr val="414140"/>
                </a:solidFill>
                <a:latin typeface="DINPro-Regular" panose="02000503030000020003" pitchFamily="2" charset="0"/>
              </a:rPr>
              <a:t>фотовольтаика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, биогаз</a:t>
            </a:r>
            <a:endParaRPr lang="de-DE" sz="1050" dirty="0">
              <a:latin typeface="DINPro-Regular" panose="02000503030000020003" pitchFamily="2" charset="0"/>
            </a:endParaRPr>
          </a:p>
          <a:p>
            <a:r>
              <a:rPr lang="ru-RU" dirty="0">
                <a:solidFill>
                  <a:srgbClr val="414140"/>
                </a:solidFill>
                <a:latin typeface="DINPro-Black" panose="02000503030000020004" pitchFamily="2" charset="0"/>
              </a:rPr>
              <a:t>Централизованные подразделения</a:t>
            </a:r>
            <a:r>
              <a:rPr lang="de-DE" dirty="0">
                <a:solidFill>
                  <a:srgbClr val="414140"/>
                </a:solidFill>
                <a:latin typeface="DINPro-Black" panose="02000503030000020004" pitchFamily="2" charset="0"/>
              </a:rPr>
              <a:t>: </a:t>
            </a:r>
          </a:p>
          <a:p>
            <a:pPr marL="342900" indent="-342900">
              <a:buFontTx/>
              <a:buChar char="-"/>
            </a:pP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дополнительный доход</a:t>
            </a: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: 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крупные клиенты</a:t>
            </a: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 </a:t>
            </a: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anose="05000000000000000000" pitchFamily="2" charset="2"/>
              </a:rPr>
              <a:t></a:t>
            </a: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 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 вокзалы</a:t>
            </a: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, 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супермаркеты</a:t>
            </a: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 </a:t>
            </a: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 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деньги для сельхозпроизводителей</a:t>
            </a:r>
            <a:endParaRPr lang="de-DE" sz="2000" b="0" dirty="0">
              <a:solidFill>
                <a:srgbClr val="414140"/>
              </a:solidFill>
              <a:latin typeface="DINPro-Regular" panose="02000503030000020003" pitchFamily="2" charset="0"/>
              <a:sym typeface="Wingdings" pitchFamily="2" charset="2"/>
            </a:endParaRPr>
          </a:p>
          <a:p>
            <a:pPr marL="342900" indent="-342900">
              <a:buFontTx/>
              <a:buChar char="-"/>
            </a:pP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Энергетика</a:t>
            </a: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: 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специалист для сельского хозяйства</a:t>
            </a: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  </a:t>
            </a:r>
            <a:b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</a:b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50.000 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  <a:sym typeface="Wingdings" pitchFamily="2" charset="2"/>
              </a:rPr>
              <a:t>сельхозпроизводителей</a:t>
            </a:r>
            <a:endParaRPr lang="de-DE" sz="2000" b="0" dirty="0">
              <a:solidFill>
                <a:srgbClr val="414140"/>
              </a:solidFill>
              <a:latin typeface="DINPro-Regular" panose="02000503030000020003" pitchFamily="2" charset="0"/>
              <a:sym typeface="Wingdings" pitchFamily="2" charset="2"/>
            </a:endParaRPr>
          </a:p>
          <a:p>
            <a:pPr marL="522900" lvl="2" indent="-342900">
              <a:buFontTx/>
              <a:buChar char="-"/>
            </a:pPr>
            <a:r>
              <a:rPr lang="ru-RU" sz="2000" dirty="0">
                <a:solidFill>
                  <a:srgbClr val="414140"/>
                </a:solidFill>
                <a:sym typeface="Wingdings" pitchFamily="2" charset="2"/>
              </a:rPr>
              <a:t>интеллектуальные счетчики электроэнергии</a:t>
            </a:r>
            <a:endParaRPr lang="de-DE" sz="2000" dirty="0">
              <a:solidFill>
                <a:srgbClr val="414140"/>
              </a:solidFill>
              <a:sym typeface="Wingdings" pitchFamily="2" charset="2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561F503-B42A-AA4B-906E-BE29581235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81869"/>
            <a:ext cx="11417106" cy="738664"/>
          </a:xfrm>
        </p:spPr>
        <p:txBody>
          <a:bodyPr/>
          <a:lstStyle/>
          <a:p>
            <a:r>
              <a:rPr lang="ru-RU" sz="2400" dirty="0"/>
              <a:t>ДЕЦЕНТРАЛИЗОВАННЫЕ И ЦЕНТРАЛИЗОВАННЫЕ экономические подразделения</a:t>
            </a:r>
            <a:endParaRPr lang="de-DE" sz="2400" dirty="0"/>
          </a:p>
        </p:txBody>
      </p:sp>
      <p:pic>
        <p:nvPicPr>
          <p:cNvPr id="8" name="Grafik 7" descr="Ein Bild, das Gras, draußen, Gebäude, Feld enthält.&#10;&#10;Automatisch generierte Beschreibung">
            <a:extLst>
              <a:ext uri="{FF2B5EF4-FFF2-40B4-BE49-F238E27FC236}">
                <a16:creationId xmlns:a16="http://schemas.microsoft.com/office/drawing/2014/main" id="{6205E533-8044-4EF6-82E8-E5838277B95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7" t="8460" b="7644"/>
          <a:stretch/>
        </p:blipFill>
        <p:spPr>
          <a:xfrm>
            <a:off x="7430346" y="1573200"/>
            <a:ext cx="4613607" cy="2595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8128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5FA24D3-8728-D947-95B5-727A81A996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800" y="1573200"/>
            <a:ext cx="10267123" cy="5187195"/>
          </a:xfrm>
        </p:spPr>
        <p:txBody>
          <a:bodyPr/>
          <a:lstStyle/>
          <a:p>
            <a:pPr marL="342900" indent="-342900">
              <a:buFontTx/>
              <a:buChar char="-"/>
            </a:pPr>
            <a:r>
              <a:rPr lang="ru-RU" sz="2800" dirty="0">
                <a:solidFill>
                  <a:srgbClr val="414140"/>
                </a:solidFill>
                <a:latin typeface="DINPro-Black" panose="02000503030000020004" pitchFamily="2" charset="0"/>
              </a:rPr>
              <a:t>Отдел закупок</a:t>
            </a:r>
            <a:r>
              <a:rPr lang="de-DE" sz="2800" dirty="0">
                <a:solidFill>
                  <a:srgbClr val="414140"/>
                </a:solidFill>
                <a:latin typeface="DINPro-Black" panose="02000503030000020004" pitchFamily="2" charset="0"/>
              </a:rPr>
              <a:t>:</a:t>
            </a:r>
          </a:p>
          <a:p>
            <a:pPr marL="522900" lvl="2" indent="-342900">
              <a:buFontTx/>
              <a:buChar char="-"/>
            </a:pPr>
            <a:r>
              <a:rPr lang="ru-RU" sz="2000" dirty="0">
                <a:solidFill>
                  <a:srgbClr val="414140"/>
                </a:solidFill>
              </a:rPr>
              <a:t>легковые автомобили – </a:t>
            </a:r>
            <a:br>
              <a:rPr lang="ru-RU" sz="2000" dirty="0">
                <a:solidFill>
                  <a:srgbClr val="414140"/>
                </a:solidFill>
              </a:rPr>
            </a:br>
            <a:r>
              <a:rPr lang="de-DE" sz="2000" dirty="0">
                <a:solidFill>
                  <a:srgbClr val="414140"/>
                </a:solidFill>
              </a:rPr>
              <a:t>10.000 </a:t>
            </a:r>
            <a:r>
              <a:rPr lang="ru-RU" sz="2000" dirty="0">
                <a:solidFill>
                  <a:srgbClr val="414140"/>
                </a:solidFill>
              </a:rPr>
              <a:t>единиц в год</a:t>
            </a:r>
            <a:endParaRPr lang="de-DE" sz="2000" dirty="0">
              <a:solidFill>
                <a:srgbClr val="414140"/>
              </a:solidFill>
            </a:endParaRPr>
          </a:p>
          <a:p>
            <a:pPr marL="522900" lvl="2" indent="-342900">
              <a:buFontTx/>
              <a:buChar char="-"/>
            </a:pPr>
            <a:r>
              <a:rPr lang="ru-RU" sz="2000" dirty="0">
                <a:solidFill>
                  <a:srgbClr val="414140"/>
                </a:solidFill>
                <a:sym typeface="Wingdings" pitchFamily="2" charset="2"/>
              </a:rPr>
              <a:t>оборудование для предприятий</a:t>
            </a:r>
            <a:endParaRPr lang="de-DE" sz="2000" dirty="0">
              <a:solidFill>
                <a:srgbClr val="414140"/>
              </a:solidFill>
              <a:sym typeface="Wingdings" pitchFamily="2" charset="2"/>
            </a:endParaRPr>
          </a:p>
          <a:p>
            <a:pPr marL="342900" indent="-342900">
              <a:buFontTx/>
              <a:buChar char="-"/>
            </a:pPr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561F503-B42A-AA4B-906E-BE29581235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19257"/>
            <a:ext cx="11233150" cy="738664"/>
          </a:xfrm>
        </p:spPr>
        <p:txBody>
          <a:bodyPr/>
          <a:lstStyle/>
          <a:p>
            <a:r>
              <a:rPr lang="ru-RU" sz="2400" dirty="0"/>
              <a:t>ДЕЦЕНТРАЛИЗОВАННЫЕ И ЦЕНТРАЛИЗОВАННЫЕ экономические подразделения</a:t>
            </a:r>
            <a:endParaRPr lang="de-DE" sz="240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C26401A-2161-43A6-AC0D-3BD0826C6B7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8617" y="1573200"/>
            <a:ext cx="5178333" cy="3452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03194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7DFB00F6-AD7E-FD43-A8C8-F269BD425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93901"/>
            <a:ext cx="11233150" cy="861774"/>
          </a:xfrm>
        </p:spPr>
        <p:txBody>
          <a:bodyPr/>
          <a:lstStyle/>
          <a:p>
            <a:r>
              <a:rPr lang="ru-RU" dirty="0" err="1"/>
              <a:t>ВсЁ</a:t>
            </a:r>
            <a:r>
              <a:rPr lang="ru-RU" dirty="0"/>
              <a:t> объединено в единую сеть </a:t>
            </a:r>
            <a:br>
              <a:rPr lang="ru-RU" dirty="0"/>
            </a:br>
            <a:r>
              <a:rPr lang="ru-RU" dirty="0"/>
              <a:t>НА СПРАВЕДЛИВЫХ НАЧАЛАХ (</a:t>
            </a:r>
            <a:r>
              <a:rPr lang="de-DE" dirty="0"/>
              <a:t>#FAIRNETZT</a:t>
            </a:r>
            <a:r>
              <a:rPr lang="ru-RU" dirty="0"/>
              <a:t>)</a:t>
            </a:r>
            <a:endParaRPr lang="de-DE" dirty="0"/>
          </a:p>
        </p:txBody>
      </p:sp>
      <p:pic>
        <p:nvPicPr>
          <p:cNvPr id="7" name="Grafik 6" descr="Ein Bild, das Monitor, Mobiltelefon, Telefon, Bildschirm enthält.&#10;&#10;Automatisch generierte Beschreibung">
            <a:extLst>
              <a:ext uri="{FF2B5EF4-FFF2-40B4-BE49-F238E27FC236}">
                <a16:creationId xmlns:a16="http://schemas.microsoft.com/office/drawing/2014/main" id="{1E22EE35-AC0D-2844-BF5B-6ADDFF6F578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55675"/>
            <a:ext cx="12192000" cy="494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76200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5FA24D3-8728-D947-95B5-727A81A996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800" y="1554539"/>
            <a:ext cx="10267123" cy="5187195"/>
          </a:xfrm>
        </p:spPr>
        <p:txBody>
          <a:bodyPr/>
          <a:lstStyle/>
          <a:p>
            <a:r>
              <a:rPr lang="ru-RU" u="sng" dirty="0">
                <a:solidFill>
                  <a:srgbClr val="65B32E"/>
                </a:solidFill>
                <a:latin typeface="DINPro-Black" panose="02000503030000020004" pitchFamily="2" charset="0"/>
              </a:rPr>
              <a:t>Европа</a:t>
            </a:r>
            <a:endParaRPr lang="de-DE" dirty="0">
              <a:solidFill>
                <a:srgbClr val="65B32E"/>
              </a:solidFill>
              <a:latin typeface="DINPro-Black" panose="02000503030000020004" pitchFamily="2" charset="0"/>
            </a:endParaRPr>
          </a:p>
          <a:p>
            <a:r>
              <a:rPr lang="ru-RU" sz="2000" dirty="0">
                <a:latin typeface="DINPro-Regular" panose="02000503030000020003" pitchFamily="2" charset="0"/>
              </a:rPr>
              <a:t>Цифровизация</a:t>
            </a:r>
            <a:r>
              <a:rPr lang="de-DE" sz="2000" u="sng" dirty="0">
                <a:latin typeface="DINPro-Regular" panose="02000503030000020003" pitchFamily="2" charset="0"/>
              </a:rPr>
              <a:t> </a:t>
            </a:r>
            <a:endParaRPr lang="de-DE" sz="2000" b="0" u="sng" dirty="0">
              <a:latin typeface="DINPro-Regular" panose="02000503030000020003" pitchFamily="2" charset="0"/>
            </a:endParaRPr>
          </a:p>
          <a:p>
            <a:r>
              <a:rPr lang="ru-RU" sz="2000" b="0" dirty="0">
                <a:latin typeface="DINPro-Regular" panose="02000503030000020003" pitchFamily="2" charset="0"/>
              </a:rPr>
              <a:t>Наш урожай не только плодовый, но и цифровой.</a:t>
            </a:r>
            <a:r>
              <a:rPr lang="de-DE" sz="2000" b="0" dirty="0">
                <a:latin typeface="DINPro-Regular" panose="02000503030000020003" pitchFamily="2" charset="0"/>
              </a:rPr>
              <a:t> </a:t>
            </a:r>
          </a:p>
          <a:p>
            <a:pPr marL="342900" indent="-342900">
              <a:buFont typeface="Wingdings" pitchFamily="2" charset="2"/>
              <a:buChar char="à"/>
            </a:pPr>
            <a:r>
              <a:rPr lang="ru-RU" sz="2000" b="0" dirty="0">
                <a:latin typeface="DINPro-Regular" panose="02000503030000020003" pitchFamily="2" charset="0"/>
                <a:sym typeface="Wingdings" pitchFamily="2" charset="2"/>
              </a:rPr>
              <a:t>Товарищества по совместному использованию сельхозтехники</a:t>
            </a:r>
            <a:br>
              <a:rPr lang="ru-RU" sz="2000" b="0" dirty="0">
                <a:latin typeface="DINPro-Regular" panose="02000503030000020003" pitchFamily="2" charset="0"/>
                <a:sym typeface="Wingdings" pitchFamily="2" charset="2"/>
              </a:rPr>
            </a:br>
            <a:r>
              <a:rPr lang="ru-RU" sz="2000" b="0" dirty="0">
                <a:latin typeface="DINPro-Regular" panose="02000503030000020003" pitchFamily="2" charset="0"/>
                <a:sym typeface="Wingdings" pitchFamily="2" charset="2"/>
              </a:rPr>
              <a:t>- поставщики услуг для хранения данных</a:t>
            </a:r>
            <a:endParaRPr lang="de-DE" sz="2000" b="0" dirty="0">
              <a:latin typeface="DINPro-Regular" panose="02000503030000020003" pitchFamily="2" charset="0"/>
              <a:sym typeface="Wingdings" pitchFamily="2" charset="2"/>
            </a:endParaRPr>
          </a:p>
          <a:p>
            <a:pPr marL="342900" indent="-342900">
              <a:buFont typeface="Wingdings" pitchFamily="2" charset="2"/>
              <a:buChar char="à"/>
            </a:pPr>
            <a:endParaRPr lang="de-DE" b="0" dirty="0">
              <a:sym typeface="Wingdings" pitchFamily="2" charset="2"/>
            </a:endParaRPr>
          </a:p>
          <a:p>
            <a:pPr marL="342900" indent="-342900">
              <a:buFont typeface="Wingdings" pitchFamily="2" charset="2"/>
              <a:buChar char="à"/>
            </a:pPr>
            <a:r>
              <a:rPr lang="ru-RU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Каждый сельхозпроизводитель</a:t>
            </a:r>
            <a:br>
              <a:rPr lang="ru-RU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</a:br>
            <a:r>
              <a:rPr lang="ru-RU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должен иметь возможность</a:t>
            </a:r>
            <a:br>
              <a:rPr lang="ru-RU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</a:br>
            <a:r>
              <a:rPr lang="ru-RU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пользоваться плодами </a:t>
            </a:r>
            <a:br>
              <a:rPr lang="ru-RU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</a:br>
            <a:r>
              <a:rPr lang="ru-RU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технического прогресса</a:t>
            </a:r>
            <a:r>
              <a:rPr lang="de-DE" dirty="0">
                <a:solidFill>
                  <a:srgbClr val="65B32E"/>
                </a:solidFill>
                <a:latin typeface="DINPro-Black" panose="02000503030000020004" pitchFamily="2" charset="0"/>
                <a:sym typeface="Wingdings" pitchFamily="2" charset="2"/>
              </a:rPr>
              <a:t>.</a:t>
            </a:r>
            <a:endParaRPr lang="de-DE" dirty="0">
              <a:solidFill>
                <a:srgbClr val="65B32E"/>
              </a:solidFill>
              <a:latin typeface="DINPro-Black" panose="02000503030000020004" pitchFamily="2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9069E80-1990-544C-BA75-E272CC0379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561F503-B42A-AA4B-906E-BE29581235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ЕРСПЕКТИВЫ</a:t>
            </a:r>
            <a:endParaRPr lang="de-DE" dirty="0"/>
          </a:p>
        </p:txBody>
      </p:sp>
      <p:pic>
        <p:nvPicPr>
          <p:cNvPr id="6" name="Grafik 5" descr="Ein Bild, das Person, Hand enthält.&#10;&#10;Automatisch generierte Beschreibung">
            <a:extLst>
              <a:ext uri="{FF2B5EF4-FFF2-40B4-BE49-F238E27FC236}">
                <a16:creationId xmlns:a16="http://schemas.microsoft.com/office/drawing/2014/main" id="{D352EBC6-4B9D-42DB-ADEC-2CD11B7514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8564" y="2515520"/>
            <a:ext cx="8259230" cy="6180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629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314AC70-A7F7-B445-A51A-6ED8EA13FD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 НАС</a:t>
            </a:r>
            <a:endParaRPr lang="de-DE" dirty="0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FA2534A1-878E-E54C-8519-FC620F6347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795338"/>
            <a:ext cx="11233150" cy="369332"/>
          </a:xfrm>
        </p:spPr>
        <p:txBody>
          <a:bodyPr/>
          <a:lstStyle/>
          <a:p>
            <a:r>
              <a:rPr lang="ru-RU" b="0" dirty="0">
                <a:solidFill>
                  <a:srgbClr val="414140"/>
                </a:solidFill>
                <a:latin typeface="DINPro-Black" panose="02000503030000020004" pitchFamily="2" charset="0"/>
                <a:ea typeface="DINPro-Regular" charset="0"/>
                <a:cs typeface="DINPro-Regular" charset="0"/>
              </a:rPr>
              <a:t>Кто мы</a:t>
            </a:r>
            <a:r>
              <a:rPr lang="de-DE" b="0" dirty="0">
                <a:solidFill>
                  <a:srgbClr val="414140"/>
                </a:solidFill>
                <a:latin typeface="DINPro-Black" panose="02000503030000020004" pitchFamily="2" charset="0"/>
                <a:ea typeface="DINPro-Regular" charset="0"/>
                <a:cs typeface="DINPro-Regular" charset="0"/>
              </a:rPr>
              <a:t>?</a:t>
            </a:r>
          </a:p>
        </p:txBody>
      </p:sp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D7DFBDDB-0D7A-3D4B-9613-54E9BE6B079C}"/>
              </a:ext>
            </a:extLst>
          </p:cNvPr>
          <p:cNvSpPr txBox="1">
            <a:spLocks/>
          </p:cNvSpPr>
          <p:nvPr/>
        </p:nvSpPr>
        <p:spPr>
          <a:xfrm>
            <a:off x="1075148" y="1737624"/>
            <a:ext cx="5910219" cy="17358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i="0" kern="1200">
                <a:solidFill>
                  <a:schemeClr val="accent2"/>
                </a:solidFill>
                <a:latin typeface="DINPro-Black" panose="02000503030000020003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6pPr>
            <a:lvl7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rgbClr val="65B32E"/>
                </a:solidFill>
                <a:latin typeface="DINPro-Black" panose="02000503030000020004" pitchFamily="2" charset="0"/>
              </a:rPr>
              <a:t>ЭРВИН БАЛЛИС</a:t>
            </a:r>
            <a:br>
              <a:rPr lang="de-DE" dirty="0">
                <a:solidFill>
                  <a:srgbClr val="65B32E"/>
                </a:solidFill>
                <a:latin typeface="DINPro-Black" panose="02000503030000020004" pitchFamily="2" charset="0"/>
              </a:rPr>
            </a:br>
            <a:r>
              <a:rPr lang="ru-RU" sz="1800" b="0" dirty="0">
                <a:solidFill>
                  <a:srgbClr val="65B32E"/>
                </a:solidFill>
                <a:latin typeface="DINPro-Black" panose="02000503030000020004" pitchFamily="2" charset="0"/>
              </a:rPr>
              <a:t>Управляющий директор</a:t>
            </a:r>
            <a:endParaRPr lang="de-DE" sz="1800" b="0" dirty="0">
              <a:solidFill>
                <a:srgbClr val="65B32E"/>
              </a:solidFill>
              <a:latin typeface="DINPro-Black" panose="02000503030000020004" pitchFamily="2" charset="0"/>
            </a:endParaRPr>
          </a:p>
          <a:p>
            <a:pPr lvl="2"/>
            <a:r>
              <a:rPr lang="de-DE" dirty="0">
                <a:solidFill>
                  <a:srgbClr val="414140"/>
                </a:solidFill>
              </a:rPr>
              <a:t>33 </a:t>
            </a:r>
            <a:r>
              <a:rPr lang="ru-RU" dirty="0">
                <a:solidFill>
                  <a:srgbClr val="414140"/>
                </a:solidFill>
              </a:rPr>
              <a:t>года в счастливом браке</a:t>
            </a:r>
            <a:endParaRPr lang="de-DE" dirty="0">
              <a:solidFill>
                <a:srgbClr val="414140"/>
              </a:solidFill>
            </a:endParaRPr>
          </a:p>
          <a:p>
            <a:pPr lvl="2"/>
            <a:r>
              <a:rPr lang="de-DE" dirty="0">
                <a:solidFill>
                  <a:srgbClr val="414140"/>
                </a:solidFill>
              </a:rPr>
              <a:t>2 </a:t>
            </a:r>
            <a:r>
              <a:rPr lang="ru-RU" dirty="0">
                <a:solidFill>
                  <a:srgbClr val="414140"/>
                </a:solidFill>
              </a:rPr>
              <a:t>взрослых детей</a:t>
            </a:r>
            <a:r>
              <a:rPr lang="de-DE" dirty="0">
                <a:solidFill>
                  <a:srgbClr val="414140"/>
                </a:solidFill>
              </a:rPr>
              <a:t> </a:t>
            </a:r>
          </a:p>
          <a:p>
            <a:pPr lvl="2"/>
            <a:r>
              <a:rPr lang="de-DE" dirty="0">
                <a:solidFill>
                  <a:srgbClr val="414140"/>
                </a:solidFill>
              </a:rPr>
              <a:t>23 </a:t>
            </a:r>
            <a:r>
              <a:rPr lang="ru-RU" dirty="0">
                <a:solidFill>
                  <a:srgbClr val="414140"/>
                </a:solidFill>
              </a:rPr>
              <a:t>года трудится в компании</a:t>
            </a:r>
            <a:endParaRPr lang="de-DE" dirty="0">
              <a:solidFill>
                <a:srgbClr val="414140"/>
              </a:solidFill>
            </a:endParaRPr>
          </a:p>
          <a:p>
            <a:endParaRPr lang="de-DE" dirty="0"/>
          </a:p>
        </p:txBody>
      </p:sp>
      <p:sp>
        <p:nvSpPr>
          <p:cNvPr id="11" name="Textplatzhalter 1">
            <a:extLst>
              <a:ext uri="{FF2B5EF4-FFF2-40B4-BE49-F238E27FC236}">
                <a16:creationId xmlns:a16="http://schemas.microsoft.com/office/drawing/2014/main" id="{FD5D3DD8-A20F-F941-8F4B-D9038B9C071A}"/>
              </a:ext>
            </a:extLst>
          </p:cNvPr>
          <p:cNvSpPr txBox="1">
            <a:spLocks/>
          </p:cNvSpPr>
          <p:nvPr/>
        </p:nvSpPr>
        <p:spPr>
          <a:xfrm rot="21350156">
            <a:off x="1337823" y="4249361"/>
            <a:ext cx="3985156" cy="17358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i="0" kern="1200">
                <a:solidFill>
                  <a:schemeClr val="accent2"/>
                </a:solidFill>
                <a:latin typeface="DINPro-Black" panose="02000503030000020003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6pPr>
            <a:lvl7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9pPr>
          </a:lstStyle>
          <a:p>
            <a:pPr marL="180000" lvl="3" indent="0">
              <a:lnSpc>
                <a:spcPts val="2060"/>
              </a:lnSpc>
              <a:buNone/>
            </a:pPr>
            <a:r>
              <a:rPr lang="de-DE" sz="1600" dirty="0">
                <a:solidFill>
                  <a:srgbClr val="65B32E"/>
                </a:solidFill>
              </a:rPr>
              <a:t>- </a:t>
            </a:r>
            <a:r>
              <a:rPr lang="ru-RU" sz="1600" dirty="0">
                <a:solidFill>
                  <a:srgbClr val="65B32E"/>
                </a:solidFill>
              </a:rPr>
              <a:t>хорошие рестораны</a:t>
            </a:r>
            <a:endParaRPr lang="de-DE" sz="1600" dirty="0">
              <a:solidFill>
                <a:srgbClr val="65B32E"/>
              </a:solidFill>
            </a:endParaRPr>
          </a:p>
          <a:p>
            <a:pPr marL="180000" lvl="3" indent="0">
              <a:lnSpc>
                <a:spcPts val="2060"/>
              </a:lnSpc>
              <a:buNone/>
            </a:pPr>
            <a:r>
              <a:rPr lang="de-DE" sz="1600" dirty="0">
                <a:solidFill>
                  <a:srgbClr val="65B32E"/>
                </a:solidFill>
              </a:rPr>
              <a:t>- </a:t>
            </a:r>
            <a:r>
              <a:rPr lang="ru-RU" sz="1600" dirty="0">
                <a:solidFill>
                  <a:srgbClr val="65B32E"/>
                </a:solidFill>
              </a:rPr>
              <a:t>фотография</a:t>
            </a:r>
            <a:endParaRPr lang="de-DE" sz="1600" dirty="0">
              <a:solidFill>
                <a:srgbClr val="65B32E"/>
              </a:solidFill>
            </a:endParaRPr>
          </a:p>
          <a:p>
            <a:pPr marL="180000" lvl="3" indent="0">
              <a:lnSpc>
                <a:spcPts val="2060"/>
              </a:lnSpc>
              <a:buNone/>
            </a:pPr>
            <a:r>
              <a:rPr lang="de-DE" sz="1600" dirty="0">
                <a:solidFill>
                  <a:srgbClr val="65B32E"/>
                </a:solidFill>
              </a:rPr>
              <a:t>- </a:t>
            </a:r>
            <a:r>
              <a:rPr lang="ru-RU" sz="1600" dirty="0">
                <a:solidFill>
                  <a:srgbClr val="65B32E"/>
                </a:solidFill>
              </a:rPr>
              <a:t>раритетные авто</a:t>
            </a:r>
            <a:endParaRPr lang="de-DE" sz="1600" dirty="0">
              <a:solidFill>
                <a:srgbClr val="65B32E"/>
              </a:solidFill>
            </a:endParaRPr>
          </a:p>
        </p:txBody>
      </p:sp>
      <p:sp>
        <p:nvSpPr>
          <p:cNvPr id="12" name="Textplatzhalter 1">
            <a:extLst>
              <a:ext uri="{FF2B5EF4-FFF2-40B4-BE49-F238E27FC236}">
                <a16:creationId xmlns:a16="http://schemas.microsoft.com/office/drawing/2014/main" id="{2C6858AF-2FD5-E349-B9C5-38FBF7D9BFEC}"/>
              </a:ext>
            </a:extLst>
          </p:cNvPr>
          <p:cNvSpPr txBox="1">
            <a:spLocks/>
          </p:cNvSpPr>
          <p:nvPr/>
        </p:nvSpPr>
        <p:spPr>
          <a:xfrm>
            <a:off x="6169662" y="1823729"/>
            <a:ext cx="5910219" cy="17358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i="0" kern="1200">
                <a:solidFill>
                  <a:schemeClr val="accent2"/>
                </a:solidFill>
                <a:latin typeface="DINPro-Black" panose="02000503030000020003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6pPr>
            <a:lvl7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rgbClr val="65B32E"/>
                </a:solidFill>
                <a:latin typeface="DINPro-Black" panose="02000503030000020004" pitchFamily="2" charset="0"/>
              </a:rPr>
              <a:t>ОКСАНА БИКЕТОВА</a:t>
            </a:r>
            <a:br>
              <a:rPr lang="de-DE" dirty="0">
                <a:solidFill>
                  <a:srgbClr val="FF0000"/>
                </a:solidFill>
                <a:latin typeface="DINPro-Black" panose="02000503030000020004" pitchFamily="2" charset="0"/>
              </a:rPr>
            </a:br>
            <a:r>
              <a:rPr lang="ru-RU" sz="1800" b="0" dirty="0">
                <a:solidFill>
                  <a:srgbClr val="65B32E"/>
                </a:solidFill>
                <a:latin typeface="DINPro-Black" panose="02000503030000020004" pitchFamily="2" charset="0"/>
              </a:rPr>
              <a:t>Зам руководителя Академии</a:t>
            </a:r>
            <a:r>
              <a:rPr lang="de-DE" sz="1800" b="0" dirty="0">
                <a:solidFill>
                  <a:srgbClr val="65B32E"/>
                </a:solidFill>
                <a:latin typeface="DINPro-Black" panose="02000503030000020004" pitchFamily="2" charset="0"/>
              </a:rPr>
              <a:t> </a:t>
            </a:r>
            <a:r>
              <a:rPr lang="ru-RU" sz="1800" b="0" dirty="0">
                <a:solidFill>
                  <a:srgbClr val="65B32E"/>
                </a:solidFill>
                <a:latin typeface="DINPro-Black" panose="02000503030000020004" pitchFamily="2" charset="0"/>
              </a:rPr>
              <a:t>машинных рингов</a:t>
            </a:r>
            <a:r>
              <a:rPr lang="de-DE" sz="1800" b="0" dirty="0">
                <a:solidFill>
                  <a:srgbClr val="65B32E"/>
                </a:solidFill>
                <a:latin typeface="DINPro-Black" panose="02000503030000020004" pitchFamily="2" charset="0"/>
              </a:rPr>
              <a:t> </a:t>
            </a:r>
          </a:p>
          <a:p>
            <a:pPr lvl="2"/>
            <a:r>
              <a:rPr lang="de-DE" dirty="0">
                <a:solidFill>
                  <a:srgbClr val="414140"/>
                </a:solidFill>
              </a:rPr>
              <a:t>10 </a:t>
            </a:r>
            <a:r>
              <a:rPr lang="ru-RU" dirty="0">
                <a:solidFill>
                  <a:srgbClr val="414140"/>
                </a:solidFill>
              </a:rPr>
              <a:t>лет в счастливом браке</a:t>
            </a:r>
            <a:endParaRPr lang="de-DE" dirty="0">
              <a:solidFill>
                <a:srgbClr val="414140"/>
              </a:solidFill>
            </a:endParaRPr>
          </a:p>
          <a:p>
            <a:pPr lvl="2"/>
            <a:r>
              <a:rPr lang="de-DE" dirty="0">
                <a:solidFill>
                  <a:srgbClr val="414140"/>
                </a:solidFill>
              </a:rPr>
              <a:t>12 </a:t>
            </a:r>
            <a:r>
              <a:rPr lang="ru-RU" dirty="0">
                <a:solidFill>
                  <a:srgbClr val="414140"/>
                </a:solidFill>
              </a:rPr>
              <a:t>лет работы в сфере образования взрослых</a:t>
            </a:r>
            <a:endParaRPr lang="de-DE" dirty="0">
              <a:solidFill>
                <a:srgbClr val="414140"/>
              </a:solidFill>
            </a:endParaRPr>
          </a:p>
          <a:p>
            <a:pPr lvl="2"/>
            <a:r>
              <a:rPr lang="de-DE" dirty="0">
                <a:solidFill>
                  <a:srgbClr val="414140"/>
                </a:solidFill>
              </a:rPr>
              <a:t>2,5 </a:t>
            </a:r>
            <a:r>
              <a:rPr lang="ru-RU" dirty="0">
                <a:solidFill>
                  <a:srgbClr val="414140"/>
                </a:solidFill>
              </a:rPr>
              <a:t>года работает в организации</a:t>
            </a:r>
            <a:endParaRPr lang="de-DE" dirty="0">
              <a:solidFill>
                <a:srgbClr val="414140"/>
              </a:solidFill>
            </a:endParaRPr>
          </a:p>
          <a:p>
            <a:endParaRPr lang="de-DE" dirty="0"/>
          </a:p>
        </p:txBody>
      </p:sp>
      <p:sp>
        <p:nvSpPr>
          <p:cNvPr id="13" name="Textplatzhalter 1">
            <a:extLst>
              <a:ext uri="{FF2B5EF4-FFF2-40B4-BE49-F238E27FC236}">
                <a16:creationId xmlns:a16="http://schemas.microsoft.com/office/drawing/2014/main" id="{9DC5B19B-18EC-FD45-AD95-CA0EBD6E5DDF}"/>
              </a:ext>
            </a:extLst>
          </p:cNvPr>
          <p:cNvSpPr txBox="1">
            <a:spLocks/>
          </p:cNvSpPr>
          <p:nvPr/>
        </p:nvSpPr>
        <p:spPr>
          <a:xfrm rot="21350156">
            <a:off x="6465858" y="4419098"/>
            <a:ext cx="4981075" cy="17358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i="0" kern="1200">
                <a:solidFill>
                  <a:schemeClr val="accent2"/>
                </a:solidFill>
                <a:latin typeface="DINPro-Black" panose="02000503030000020003" pitchFamily="2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6pPr>
            <a:lvl7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&gt;"/>
              <a:defRPr sz="1800" kern="1200">
                <a:solidFill>
                  <a:schemeClr val="tx1"/>
                </a:solidFill>
                <a:latin typeface="DINPro-Regular" panose="02000503030000020003" pitchFamily="2" charset="0"/>
                <a:ea typeface="+mn-ea"/>
                <a:cs typeface="+mn-cs"/>
              </a:defRPr>
            </a:lvl9pPr>
          </a:lstStyle>
          <a:p>
            <a:pPr lvl="3">
              <a:lnSpc>
                <a:spcPts val="2060"/>
              </a:lnSpc>
              <a:buFontTx/>
              <a:buChar char="-"/>
            </a:pPr>
            <a:r>
              <a:rPr lang="ru-RU" sz="1600" dirty="0">
                <a:solidFill>
                  <a:srgbClr val="65B32E"/>
                </a:solidFill>
              </a:rPr>
              <a:t>квадрокоптеры</a:t>
            </a:r>
            <a:endParaRPr lang="de-DE" sz="1600" dirty="0">
              <a:solidFill>
                <a:srgbClr val="65B32E"/>
              </a:solidFill>
            </a:endParaRPr>
          </a:p>
          <a:p>
            <a:pPr lvl="3">
              <a:lnSpc>
                <a:spcPts val="2060"/>
              </a:lnSpc>
              <a:buFontTx/>
              <a:buChar char="-"/>
            </a:pPr>
            <a:r>
              <a:rPr lang="ru-RU" sz="1600" dirty="0">
                <a:solidFill>
                  <a:srgbClr val="65B32E"/>
                </a:solidFill>
              </a:rPr>
              <a:t>иностранные языки</a:t>
            </a:r>
            <a:endParaRPr lang="de-DE" sz="1600" dirty="0">
              <a:solidFill>
                <a:srgbClr val="65B32E"/>
              </a:solidFill>
            </a:endParaRPr>
          </a:p>
          <a:p>
            <a:pPr marL="180000" lvl="3" indent="0">
              <a:lnSpc>
                <a:spcPts val="2060"/>
              </a:lnSpc>
              <a:buNone/>
            </a:pPr>
            <a:r>
              <a:rPr lang="de-DE" sz="1600" dirty="0">
                <a:solidFill>
                  <a:srgbClr val="65B32E"/>
                </a:solidFill>
              </a:rPr>
              <a:t>- </a:t>
            </a:r>
            <a:r>
              <a:rPr lang="ru-RU" sz="1600" dirty="0">
                <a:solidFill>
                  <a:srgbClr val="65B32E"/>
                </a:solidFill>
              </a:rPr>
              <a:t>автор книг</a:t>
            </a:r>
            <a:endParaRPr lang="de-DE" sz="1600" dirty="0">
              <a:solidFill>
                <a:srgbClr val="65B32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277891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5FA24D3-8728-D947-95B5-727A81A996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800" y="1573200"/>
            <a:ext cx="10267123" cy="5187195"/>
          </a:xfrm>
        </p:spPr>
        <p:txBody>
          <a:bodyPr/>
          <a:lstStyle/>
          <a:p>
            <a:r>
              <a:rPr lang="ru-RU" u="sng" dirty="0">
                <a:solidFill>
                  <a:srgbClr val="65B32E"/>
                </a:solidFill>
                <a:latin typeface="DINPro-Regular" panose="02000503030000020003" pitchFamily="2" charset="0"/>
              </a:rPr>
              <a:t>В мире</a:t>
            </a:r>
            <a:endParaRPr lang="de-DE" dirty="0">
              <a:solidFill>
                <a:srgbClr val="65B32E"/>
              </a:solidFill>
              <a:latin typeface="DINPro-Regular" panose="02000503030000020003" pitchFamily="2" charset="0"/>
            </a:endParaRPr>
          </a:p>
          <a:p>
            <a:r>
              <a:rPr lang="ru-RU" sz="2000" dirty="0">
                <a:latin typeface="DINPro-Regular" panose="02000503030000020003" pitchFamily="2" charset="0"/>
              </a:rPr>
              <a:t>Создание товариществ по совместному использованию сельхозтехники в Африке</a:t>
            </a:r>
            <a:endParaRPr lang="de-DE" sz="2000" dirty="0">
              <a:latin typeface="DINPro-Regular" panose="02000503030000020003" pitchFamily="2" charset="0"/>
            </a:endParaRPr>
          </a:p>
          <a:p>
            <a:pPr marL="342900" indent="-342900">
              <a:buFontTx/>
              <a:buChar char="-"/>
            </a:pPr>
            <a:r>
              <a:rPr lang="de-DE" sz="2000" b="0" dirty="0">
                <a:latin typeface="DINPro-Regular" panose="02000503030000020003" pitchFamily="2" charset="0"/>
              </a:rPr>
              <a:t>21 </a:t>
            </a:r>
            <a:r>
              <a:rPr lang="ru-RU" sz="2000" b="0" dirty="0">
                <a:latin typeface="DINPro-Regular" panose="02000503030000020003" pitchFamily="2" charset="0"/>
              </a:rPr>
              <a:t>в Сенегале</a:t>
            </a:r>
            <a:endParaRPr lang="de-DE" sz="2000" b="0" dirty="0">
              <a:latin typeface="DINPro-Regular" panose="02000503030000020003" pitchFamily="2" charset="0"/>
            </a:endParaRPr>
          </a:p>
          <a:p>
            <a:pPr marL="342900" indent="-342900">
              <a:buFontTx/>
              <a:buChar char="-"/>
            </a:pPr>
            <a:r>
              <a:rPr lang="de-DE" sz="2000" b="0" dirty="0">
                <a:latin typeface="DINPro-Regular" panose="02000503030000020003" pitchFamily="2" charset="0"/>
              </a:rPr>
              <a:t>2 </a:t>
            </a:r>
            <a:r>
              <a:rPr lang="ru-RU" sz="2000" b="0" dirty="0">
                <a:latin typeface="DINPro-Regular" panose="02000503030000020003" pitchFamily="2" charset="0"/>
              </a:rPr>
              <a:t>в Кении</a:t>
            </a:r>
            <a:endParaRPr lang="de-DE" sz="2000" b="0" dirty="0">
              <a:latin typeface="DINPro-Regular" panose="02000503030000020003" pitchFamily="2" charset="0"/>
            </a:endParaRPr>
          </a:p>
          <a:p>
            <a:pPr marL="342900" indent="-342900">
              <a:buFont typeface="Wingdings" pitchFamily="2" charset="2"/>
              <a:buChar char="à"/>
            </a:pPr>
            <a:r>
              <a:rPr lang="ru-RU" sz="2000" b="0" dirty="0">
                <a:latin typeface="DINPro-Regular" panose="02000503030000020003" pitchFamily="2" charset="0"/>
              </a:rPr>
              <a:t>улучшение качества жизни</a:t>
            </a:r>
            <a:endParaRPr lang="de-DE" sz="2000" b="0" dirty="0">
              <a:latin typeface="DINPro-Regular" panose="02000503030000020003" pitchFamily="2" charset="0"/>
            </a:endParaRPr>
          </a:p>
          <a:p>
            <a:pPr marL="342900" indent="-342900">
              <a:buFont typeface="Wingdings" pitchFamily="2" charset="2"/>
              <a:buChar char="à"/>
            </a:pPr>
            <a:r>
              <a:rPr lang="ru-RU" sz="2000" b="0" dirty="0">
                <a:latin typeface="DINPro-Regular" panose="02000503030000020003" pitchFamily="2" charset="0"/>
              </a:rPr>
              <a:t>облегчение условий труда</a:t>
            </a:r>
            <a:endParaRPr lang="de-DE" sz="2000" b="0" dirty="0">
              <a:latin typeface="DINPro-Regular" panose="02000503030000020003" pitchFamily="2" charset="0"/>
            </a:endParaRPr>
          </a:p>
          <a:p>
            <a:pPr marL="342900" indent="-342900">
              <a:buFont typeface="Wingdings" pitchFamily="2" charset="2"/>
              <a:buChar char="à"/>
            </a:pPr>
            <a:endParaRPr lang="de-DE" sz="2000" b="0" dirty="0">
              <a:latin typeface="DINPro-Regular" panose="02000503030000020003" pitchFamily="2" charset="0"/>
            </a:endParaRPr>
          </a:p>
          <a:p>
            <a:pPr marL="342900" indent="-342900">
              <a:buFont typeface="Wingdings" pitchFamily="2" charset="2"/>
              <a:buChar char="à"/>
            </a:pPr>
            <a:r>
              <a:rPr lang="ru-RU" sz="2000" b="0" dirty="0">
                <a:latin typeface="DINPro-Regular" panose="02000503030000020003" pitchFamily="2" charset="0"/>
              </a:rPr>
              <a:t>помощь для</a:t>
            </a:r>
            <a:r>
              <a:rPr lang="de-DE" sz="2000" b="0" dirty="0">
                <a:latin typeface="DINPro-Regular" panose="02000503030000020003" pitchFamily="2" charset="0"/>
              </a:rPr>
              <a:t> </a:t>
            </a:r>
            <a:r>
              <a:rPr lang="ru-RU" sz="2000" b="0" u="sng" dirty="0">
                <a:latin typeface="DINPro-Regular" panose="02000503030000020003" pitchFamily="2" charset="0"/>
              </a:rPr>
              <a:t>самопомощи</a:t>
            </a:r>
            <a:endParaRPr lang="de-DE" sz="2000" b="0" dirty="0">
              <a:latin typeface="DINPro-Regular" panose="02000503030000020003" pitchFamily="2" charset="0"/>
            </a:endParaRPr>
          </a:p>
          <a:p>
            <a:pPr marL="342900" indent="-342900">
              <a:buFont typeface="Wingdings" pitchFamily="2" charset="2"/>
              <a:buChar char="à"/>
            </a:pPr>
            <a:r>
              <a:rPr lang="ru-RU" sz="2000" b="0" dirty="0">
                <a:latin typeface="DINPro-Regular" panose="02000503030000020003" pitchFamily="2" charset="0"/>
              </a:rPr>
              <a:t>Товарищества, адаптированные к местным условиям</a:t>
            </a:r>
            <a:endParaRPr lang="de-DE" sz="2000" dirty="0">
              <a:latin typeface="DINPro-Regular" panose="02000503030000020003" pitchFamily="2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9069E80-1990-544C-BA75-E272CC03794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561F503-B42A-AA4B-906E-BE29581235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ЕРСПЕКТИВЫ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247150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C049D2E-3667-3C4E-9CB8-BE278C0965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800" y="1873001"/>
            <a:ext cx="5617200" cy="2706699"/>
          </a:xfrm>
        </p:spPr>
        <p:txBody>
          <a:bodyPr/>
          <a:lstStyle/>
          <a:p>
            <a:pPr>
              <a:buClr>
                <a:schemeClr val="bg2"/>
              </a:buClr>
            </a:pPr>
            <a:r>
              <a:rPr lang="ru-RU" sz="2800" dirty="0">
                <a:latin typeface="DINPro-Black" panose="02000503030000020004" pitchFamily="2" charset="0"/>
              </a:rPr>
              <a:t>Сенегал</a:t>
            </a:r>
            <a:r>
              <a:rPr lang="de-DE" sz="2800" dirty="0">
                <a:latin typeface="DINPro-Black" panose="02000503030000020004" pitchFamily="2" charset="0"/>
              </a:rPr>
              <a:t>:  </a:t>
            </a:r>
            <a:r>
              <a:rPr lang="de-DE" b="0" dirty="0">
                <a:solidFill>
                  <a:schemeClr val="tx1"/>
                </a:solidFill>
                <a:latin typeface="DINPro-Regular" panose="02000503030000020003" pitchFamily="2" charset="0"/>
              </a:rPr>
              <a:t>21 </a:t>
            </a:r>
            <a:r>
              <a:rPr lang="ru-RU" b="0" dirty="0">
                <a:solidFill>
                  <a:schemeClr val="tx1"/>
                </a:solidFill>
                <a:latin typeface="DINPro-Regular" panose="02000503030000020003" pitchFamily="2" charset="0"/>
              </a:rPr>
              <a:t>товарищество по совместному использованию  сельхозтехники</a:t>
            </a:r>
            <a:endParaRPr lang="de-DE" b="0" dirty="0">
              <a:solidFill>
                <a:schemeClr val="tx1"/>
              </a:solidFill>
              <a:latin typeface="DINPro-Regular" panose="02000503030000020003" pitchFamily="2" charset="0"/>
            </a:endParaRPr>
          </a:p>
          <a:p>
            <a:pPr>
              <a:buClr>
                <a:schemeClr val="bg2"/>
              </a:buClr>
            </a:pPr>
            <a:r>
              <a:rPr lang="ru-RU" sz="2800" dirty="0">
                <a:latin typeface="DINPro-Black" panose="02000503030000020004" pitchFamily="2" charset="0"/>
              </a:rPr>
              <a:t>План</a:t>
            </a:r>
            <a:r>
              <a:rPr lang="de-DE" sz="2800" dirty="0">
                <a:latin typeface="DINPro-Black" panose="02000503030000020004" pitchFamily="2" charset="0"/>
              </a:rPr>
              <a:t>:</a:t>
            </a:r>
          </a:p>
          <a:p>
            <a:pPr marL="342900" indent="-342900">
              <a:buClr>
                <a:schemeClr val="bg2"/>
              </a:buClr>
              <a:buFont typeface="Wingdings" pitchFamily="2" charset="2"/>
              <a:buChar char="§"/>
            </a:pPr>
            <a:r>
              <a:rPr lang="de-DE" b="0" dirty="0">
                <a:solidFill>
                  <a:schemeClr val="tx1"/>
                </a:solidFill>
                <a:latin typeface="DINPro-Regular" panose="02000503030000020003" pitchFamily="2" charset="0"/>
              </a:rPr>
              <a:t>2 </a:t>
            </a:r>
            <a:r>
              <a:rPr lang="ru-RU" b="0" dirty="0">
                <a:solidFill>
                  <a:schemeClr val="tx1"/>
                </a:solidFill>
                <a:latin typeface="DINPro-Regular" panose="02000503030000020003" pitchFamily="2" charset="0"/>
              </a:rPr>
              <a:t>товарищества в Кении</a:t>
            </a:r>
            <a:endParaRPr lang="de-DE" b="0" dirty="0">
              <a:solidFill>
                <a:schemeClr val="tx1"/>
              </a:solidFill>
              <a:latin typeface="DINPro-Regular" panose="02000503030000020003" pitchFamily="2" charset="0"/>
            </a:endParaRPr>
          </a:p>
          <a:p>
            <a:pPr marL="342900" indent="-342900">
              <a:buClr>
                <a:schemeClr val="bg2"/>
              </a:buClr>
              <a:buFont typeface="Wingdings" pitchFamily="2" charset="2"/>
              <a:buChar char="§"/>
            </a:pPr>
            <a:r>
              <a:rPr lang="de-DE" b="0" dirty="0">
                <a:solidFill>
                  <a:schemeClr val="tx1"/>
                </a:solidFill>
                <a:latin typeface="DINPro-Regular" panose="02000503030000020003" pitchFamily="2" charset="0"/>
              </a:rPr>
              <a:t>100 </a:t>
            </a:r>
            <a:r>
              <a:rPr lang="ru-RU" b="0" dirty="0">
                <a:solidFill>
                  <a:schemeClr val="tx1"/>
                </a:solidFill>
                <a:latin typeface="DINPro-Regular" panose="02000503030000020003" pitchFamily="2" charset="0"/>
              </a:rPr>
              <a:t>товариществ в Сенегале</a:t>
            </a:r>
            <a:endParaRPr lang="de-DE" b="0" dirty="0">
              <a:latin typeface="DINPro-Regular" panose="02000503030000020003" pitchFamily="2" charset="0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9D5D8AE-7C17-4C40-923B-928D0DD05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65125"/>
            <a:ext cx="11233150" cy="861774"/>
          </a:xfrm>
        </p:spPr>
        <p:txBody>
          <a:bodyPr/>
          <a:lstStyle/>
          <a:p>
            <a:r>
              <a:rPr lang="ru-RU" dirty="0"/>
              <a:t>Корпоративная социальная ответственность (</a:t>
            </a:r>
            <a:r>
              <a:rPr lang="de-DE" dirty="0"/>
              <a:t>CSR</a:t>
            </a:r>
            <a:r>
              <a:rPr lang="ru-RU" dirty="0"/>
              <a:t>)</a:t>
            </a:r>
            <a:r>
              <a:rPr lang="de-DE" dirty="0"/>
              <a:t> – </a:t>
            </a:r>
            <a:r>
              <a:rPr lang="ru-RU" dirty="0"/>
              <a:t>сотрудничество в целях развития</a:t>
            </a:r>
            <a:endParaRPr lang="de-DE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C13E004F-24E5-934F-939E-774E0859622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00040" y="6444188"/>
            <a:ext cx="4114800" cy="153888"/>
          </a:xfrm>
        </p:spPr>
        <p:txBody>
          <a:bodyPr/>
          <a:lstStyle/>
          <a:p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24105C4-D57C-4647-8BE1-185AD3C20DAF}"/>
              </a:ext>
            </a:extLst>
          </p:cNvPr>
          <p:cNvSpPr txBox="1"/>
          <p:nvPr/>
        </p:nvSpPr>
        <p:spPr>
          <a:xfrm>
            <a:off x="378742" y="4692133"/>
            <a:ext cx="5595960" cy="954107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2800" b="1" dirty="0">
                <a:solidFill>
                  <a:schemeClr val="bg1"/>
                </a:solidFill>
                <a:latin typeface="DINPro-Black" panose="02000503030000020003" pitchFamily="2" charset="0"/>
                <a:sym typeface="Wingdings" pitchFamily="2" charset="2"/>
              </a:rPr>
              <a:t>MR</a:t>
            </a:r>
            <a:r>
              <a:rPr lang="ru-RU" sz="2800" b="1" dirty="0">
                <a:solidFill>
                  <a:schemeClr val="bg1"/>
                </a:solidFill>
                <a:latin typeface="DINPro-Black" panose="02000503030000020003" pitchFamily="2" charset="0"/>
                <a:sym typeface="Wingdings" pitchFamily="2" charset="2"/>
              </a:rPr>
              <a:t>  готовы делиться  знаниями </a:t>
            </a:r>
            <a:br>
              <a:rPr lang="ru-RU" sz="2800" b="1" dirty="0">
                <a:solidFill>
                  <a:schemeClr val="bg1"/>
                </a:solidFill>
                <a:latin typeface="DINPro-Black" panose="02000503030000020003" pitchFamily="2" charset="0"/>
                <a:sym typeface="Wingdings" pitchFamily="2" charset="2"/>
              </a:rPr>
            </a:br>
            <a:r>
              <a:rPr lang="ru-RU" sz="2800" b="1" dirty="0">
                <a:solidFill>
                  <a:schemeClr val="bg1"/>
                </a:solidFill>
                <a:latin typeface="DINPro-Black" panose="02000503030000020003" pitchFamily="2" charset="0"/>
                <a:sym typeface="Wingdings" pitchFamily="2" charset="2"/>
              </a:rPr>
              <a:t>со  всеми  странами!</a:t>
            </a:r>
            <a:endParaRPr lang="de-DE" sz="2800" b="1" dirty="0">
              <a:solidFill>
                <a:schemeClr val="bg1"/>
              </a:solidFill>
              <a:latin typeface="DINPro-Black" panose="02000503030000020003" pitchFamily="2" charset="0"/>
            </a:endParaRPr>
          </a:p>
        </p:txBody>
      </p:sp>
      <p:pic>
        <p:nvPicPr>
          <p:cNvPr id="10" name="Grafik 9" descr="Ein Bild, das Gras, draußen, Baum, gelb enthält.&#10;&#10;Automatisch generierte Beschreibung">
            <a:extLst>
              <a:ext uri="{FF2B5EF4-FFF2-40B4-BE49-F238E27FC236}">
                <a16:creationId xmlns:a16="http://schemas.microsoft.com/office/drawing/2014/main" id="{05D85C3C-9B75-8E4F-8D4E-88128B86AE9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930"/>
          <a:stretch/>
        </p:blipFill>
        <p:spPr>
          <a:xfrm>
            <a:off x="6096001" y="1557338"/>
            <a:ext cx="5616574" cy="4273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39546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5360" y="2216271"/>
            <a:ext cx="10918242" cy="2486358"/>
          </a:xfrm>
        </p:spPr>
        <p:txBody>
          <a:bodyPr/>
          <a:lstStyle/>
          <a:p>
            <a:pPr algn="ctr"/>
            <a:r>
              <a:rPr lang="ru-RU" sz="5400" dirty="0"/>
              <a:t>Желаете получить дополнительную информацию</a:t>
            </a:r>
            <a:r>
              <a:rPr lang="de-DE" sz="5400" dirty="0"/>
              <a:t>?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87834" y="4679214"/>
            <a:ext cx="9665088" cy="1323101"/>
          </a:xfrm>
        </p:spPr>
        <p:txBody>
          <a:bodyPr/>
          <a:lstStyle/>
          <a:p>
            <a:pPr algn="ctr"/>
            <a:r>
              <a:rPr lang="ru-RU" sz="3200" dirty="0">
                <a:solidFill>
                  <a:schemeClr val="tx1"/>
                </a:solidFill>
              </a:rPr>
              <a:t>Обращайтесь к нам!</a:t>
            </a:r>
            <a:endParaRPr lang="de-DE" sz="3200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335360" y="216700"/>
            <a:ext cx="6096000" cy="2092877"/>
          </a:xfrm>
          <a:prstGeom prst="rect">
            <a:avLst/>
          </a:prstGeom>
        </p:spPr>
        <p:txBody>
          <a:bodyPr lIns="121917" tIns="60958" rIns="121917" bIns="60958">
            <a:spAutoFit/>
          </a:bodyPr>
          <a:lstStyle/>
          <a:p>
            <a:r>
              <a:rPr lang="de-DE" sz="1600" b="1" dirty="0">
                <a:solidFill>
                  <a:schemeClr val="bg1"/>
                </a:solidFill>
                <a:latin typeface="DINPro-Regular" panose="02000503030000020003" pitchFamily="2" charset="0"/>
              </a:rPr>
              <a:t>Bundesverband der Maschinenringe e. V.</a:t>
            </a:r>
            <a:endParaRPr lang="de-DE" sz="1600" dirty="0">
              <a:solidFill>
                <a:schemeClr val="bg1"/>
              </a:solidFill>
              <a:latin typeface="DINPro-Regular" panose="02000503030000020003" pitchFamily="2" charset="0"/>
            </a:endParaRPr>
          </a:p>
          <a:p>
            <a:r>
              <a:rPr lang="de-DE" sz="1600" dirty="0">
                <a:solidFill>
                  <a:schemeClr val="bg1"/>
                </a:solidFill>
                <a:latin typeface="DINPro-Regular" panose="02000503030000020003" pitchFamily="2" charset="0"/>
              </a:rPr>
              <a:t>Am Maschinenring 1</a:t>
            </a:r>
          </a:p>
          <a:p>
            <a:r>
              <a:rPr lang="de-DE" sz="1600" dirty="0">
                <a:solidFill>
                  <a:schemeClr val="bg1"/>
                </a:solidFill>
                <a:latin typeface="DINPro-Regular" panose="02000503030000020003" pitchFamily="2" charset="0"/>
              </a:rPr>
              <a:t>86633 Neuburg</a:t>
            </a:r>
          </a:p>
          <a:p>
            <a:endParaRPr lang="de-DE" sz="1600" dirty="0">
              <a:solidFill>
                <a:schemeClr val="bg1"/>
              </a:solidFill>
              <a:latin typeface="DINPro-Regular" panose="02000503030000020003" pitchFamily="2" charset="0"/>
            </a:endParaRPr>
          </a:p>
          <a:p>
            <a:r>
              <a:rPr lang="de-DE" sz="1600" b="1" dirty="0">
                <a:solidFill>
                  <a:schemeClr val="bg1"/>
                </a:solidFill>
                <a:latin typeface="DINPro-Regular" panose="02000503030000020003" pitchFamily="2" charset="0"/>
              </a:rPr>
              <a:t>Bundesverband der Maschinenringe e.V.</a:t>
            </a:r>
            <a:endParaRPr lang="de-DE" sz="1600" dirty="0">
              <a:solidFill>
                <a:schemeClr val="bg1"/>
              </a:solidFill>
              <a:latin typeface="DINPro-Regular" panose="02000503030000020003" pitchFamily="2" charset="0"/>
            </a:endParaRPr>
          </a:p>
          <a:p>
            <a:r>
              <a:rPr lang="de-DE" sz="1600" dirty="0">
                <a:solidFill>
                  <a:schemeClr val="bg1"/>
                </a:solidFill>
                <a:latin typeface="DINPro-Regular" panose="02000503030000020003" pitchFamily="2" charset="0"/>
              </a:rPr>
              <a:t>Erwin Ballis</a:t>
            </a:r>
          </a:p>
          <a:p>
            <a:r>
              <a:rPr lang="de-DE" sz="1600" dirty="0">
                <a:solidFill>
                  <a:schemeClr val="bg1"/>
                </a:solidFill>
                <a:latin typeface="DINPro-Regular" panose="02000503030000020003" pitchFamily="2" charset="0"/>
              </a:rPr>
              <a:t>T: +49 (0) 8431 6499 – 1031</a:t>
            </a:r>
          </a:p>
          <a:p>
            <a:r>
              <a:rPr lang="de-DE" sz="1600" dirty="0">
                <a:solidFill>
                  <a:schemeClr val="bg1"/>
                </a:solidFill>
                <a:latin typeface="DINPro-Regular" panose="02000503030000020003" pitchFamily="2" charset="0"/>
              </a:rPr>
              <a:t>Erwin.Ballis@maschinenringe.com</a:t>
            </a:r>
          </a:p>
        </p:txBody>
      </p:sp>
      <p:sp>
        <p:nvSpPr>
          <p:cNvPr id="5" name="Rechteck 4"/>
          <p:cNvSpPr/>
          <p:nvPr/>
        </p:nvSpPr>
        <p:spPr>
          <a:xfrm>
            <a:off x="270045" y="5509874"/>
            <a:ext cx="10561173" cy="984881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  <a:latin typeface="DINPro-Regular" panose="02000503030000020003" pitchFamily="2" charset="0"/>
              </a:rPr>
              <a:t>Замечание по презентации, докладу и иллюстрациям</a:t>
            </a:r>
            <a:r>
              <a:rPr lang="de-DE" sz="1400" b="1" dirty="0">
                <a:solidFill>
                  <a:schemeClr val="bg1"/>
                </a:solidFill>
                <a:latin typeface="DINPro-Regular" panose="02000503030000020003" pitchFamily="2" charset="0"/>
              </a:rPr>
              <a:t>:</a:t>
            </a:r>
            <a:r>
              <a:rPr lang="ru-RU" sz="1400" b="1" dirty="0">
                <a:solidFill>
                  <a:schemeClr val="bg1"/>
                </a:solidFill>
                <a:latin typeface="DINPro-Regular" panose="02000503030000020003" pitchFamily="2" charset="0"/>
              </a:rPr>
              <a:t> </a:t>
            </a:r>
            <a:br>
              <a:rPr lang="ru-RU" sz="1400" b="1" dirty="0">
                <a:solidFill>
                  <a:schemeClr val="bg1"/>
                </a:solidFill>
                <a:latin typeface="DINPro-Regular" panose="02000503030000020003" pitchFamily="2" charset="0"/>
              </a:rPr>
            </a:br>
            <a:r>
              <a:rPr lang="ru-RU" sz="1400" b="1" dirty="0">
                <a:solidFill>
                  <a:schemeClr val="bg1"/>
                </a:solidFill>
                <a:latin typeface="DINPro-Regular" panose="02000503030000020003" pitchFamily="2" charset="0"/>
              </a:rPr>
              <a:t>Все материалы предназначены исключительно для внутреннего пользования</a:t>
            </a:r>
            <a:r>
              <a:rPr lang="de-DE" sz="1400" b="1" dirty="0">
                <a:solidFill>
                  <a:schemeClr val="bg1"/>
                </a:solidFill>
                <a:latin typeface="DINPro-Regular" panose="02000503030000020003" pitchFamily="2" charset="0"/>
              </a:rPr>
              <a:t>! </a:t>
            </a:r>
          </a:p>
          <a:p>
            <a:r>
              <a:rPr lang="ru-RU" sz="1400" dirty="0">
                <a:solidFill>
                  <a:schemeClr val="bg1"/>
                </a:solidFill>
                <a:latin typeface="DINPro-Regular" panose="02000503030000020003" pitchFamily="2" charset="0"/>
              </a:rPr>
              <a:t>Авторские права принадлежат Федеральной ассоциации машинных рингов</a:t>
            </a:r>
            <a:r>
              <a:rPr lang="de-DE" sz="1400" dirty="0">
                <a:solidFill>
                  <a:schemeClr val="bg1"/>
                </a:solidFill>
                <a:latin typeface="DINPro-Regular" panose="02000503030000020003" pitchFamily="2" charset="0"/>
              </a:rPr>
              <a:t>. </a:t>
            </a:r>
            <a:r>
              <a:rPr lang="ru-RU" sz="1400" dirty="0">
                <a:solidFill>
                  <a:schemeClr val="bg1"/>
                </a:solidFill>
                <a:latin typeface="DINPro-Regular" panose="02000503030000020003" pitchFamily="2" charset="0"/>
              </a:rPr>
              <a:t> Использование, публикация или тиражирование иным способом только с предварительного письменного согласия</a:t>
            </a:r>
            <a:r>
              <a:rPr lang="de-DE" sz="1400" dirty="0">
                <a:solidFill>
                  <a:schemeClr val="bg1"/>
                </a:solidFill>
                <a:latin typeface="DINPro-Regular" panose="02000503030000020003" pitchFamily="2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660948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FE9443F-2B62-44C3-9AFF-0AD31ACB4E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800" y="1573201"/>
            <a:ext cx="11027400" cy="4266000"/>
          </a:xfrm>
        </p:spPr>
        <p:txBody>
          <a:bodyPr/>
          <a:lstStyle/>
          <a:p>
            <a:r>
              <a:rPr lang="de-DE" dirty="0">
                <a:solidFill>
                  <a:srgbClr val="65B32E"/>
                </a:solidFill>
                <a:latin typeface="DINPro-Regular" panose="02000503030000020003" pitchFamily="2" charset="0"/>
              </a:rPr>
              <a:t>&gt;&gt; </a:t>
            </a:r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</a:rPr>
              <a:t>Основные принципы</a:t>
            </a:r>
            <a:endParaRPr lang="de-DE" dirty="0">
              <a:latin typeface="DINPro-Regular" panose="02000503030000020003" pitchFamily="2" charset="0"/>
            </a:endParaRPr>
          </a:p>
          <a:p>
            <a:r>
              <a:rPr lang="de-DE" dirty="0">
                <a:solidFill>
                  <a:srgbClr val="65B32E"/>
                </a:solidFill>
                <a:latin typeface="DINPro-Regular" panose="02000503030000020003" pitchFamily="2" charset="0"/>
              </a:rPr>
              <a:t>&gt;&gt; </a:t>
            </a:r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</a:rPr>
              <a:t>Текущее состояние</a:t>
            </a:r>
            <a:endParaRPr lang="de-DE" dirty="0">
              <a:latin typeface="DINPro-Regular" panose="02000503030000020003" pitchFamily="2" charset="0"/>
            </a:endParaRPr>
          </a:p>
          <a:p>
            <a:r>
              <a:rPr lang="de-DE" dirty="0">
                <a:solidFill>
                  <a:srgbClr val="65B32E"/>
                </a:solidFill>
                <a:latin typeface="DINPro-Regular" panose="02000503030000020003" pitchFamily="2" charset="0"/>
              </a:rPr>
              <a:t>&gt;&gt; </a:t>
            </a:r>
            <a:r>
              <a:rPr lang="ru-RU" b="0" dirty="0">
                <a:solidFill>
                  <a:srgbClr val="414140"/>
                </a:solidFill>
                <a:latin typeface="DINPro-Regular" panose="02000503030000020003" pitchFamily="2" charset="0"/>
              </a:rPr>
              <a:t>Перспективы</a:t>
            </a:r>
            <a:endParaRPr lang="de-DE" dirty="0">
              <a:latin typeface="DINPro-Regular" panose="02000503030000020003" pitchFamily="2" charset="0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3C3ECD5-EACD-456C-BF22-D3FEDCFC55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b="0" dirty="0">
                <a:solidFill>
                  <a:srgbClr val="414140"/>
                </a:solidFill>
                <a:latin typeface="DINPro-Black" panose="02000503030000020004" pitchFamily="2" charset="0"/>
                <a:ea typeface="DINPro-Regular" charset="0"/>
                <a:cs typeface="DINPro-Regular" charset="0"/>
              </a:rPr>
              <a:t>Содержание</a:t>
            </a:r>
            <a:endParaRPr lang="de-DE" b="0" dirty="0">
              <a:solidFill>
                <a:srgbClr val="414140"/>
              </a:solidFill>
              <a:latin typeface="DINPro-Black" panose="02000503030000020004" pitchFamily="2" charset="0"/>
              <a:ea typeface="DINPro-Regular" charset="0"/>
              <a:cs typeface="DINPro-Regular" charset="0"/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5"/>
          </p:nvPr>
        </p:nvSpPr>
        <p:spPr>
          <a:xfrm>
            <a:off x="952668" y="6444188"/>
            <a:ext cx="634789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8BCD4F-BD4F-4BE2-8B9E-34FFB4825014}" type="datetime1">
              <a:rPr lang="de-DE" smtClean="0"/>
              <a:pPr/>
              <a:t>24.06.2021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>
          <a:xfrm>
            <a:off x="1802616" y="6444188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Maschinenring | EB</a:t>
            </a:r>
            <a:endParaRPr lang="de-DE" dirty="0">
              <a:latin typeface="DINPro-Regular" charset="0"/>
              <a:ea typeface="DINPro-Regular" charset="0"/>
              <a:cs typeface="DINPro-Regular" charset="0"/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7"/>
          </p:nvPr>
        </p:nvSpPr>
        <p:spPr>
          <a:xfrm>
            <a:off x="479425" y="6444188"/>
            <a:ext cx="258084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36B8E5-3A52-4A78-81A8-094081A03A6D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Titel 3">
            <a:extLst>
              <a:ext uri="{FF2B5EF4-FFF2-40B4-BE49-F238E27FC236}">
                <a16:creationId xmlns:a16="http://schemas.microsoft.com/office/drawing/2014/main" id="{30DBCD57-31A6-F84A-8345-0D9008AD6D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65125"/>
            <a:ext cx="11233150" cy="430887"/>
          </a:xfrm>
        </p:spPr>
        <p:txBody>
          <a:bodyPr/>
          <a:lstStyle/>
          <a:p>
            <a:r>
              <a:rPr lang="en-US" dirty="0"/>
              <a:t>AGEND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5718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CAD33DFE-CD55-674E-AF05-4501D38698F1}"/>
              </a:ext>
            </a:extLst>
          </p:cNvPr>
          <p:cNvSpPr txBox="1">
            <a:spLocks/>
          </p:cNvSpPr>
          <p:nvPr/>
        </p:nvSpPr>
        <p:spPr>
          <a:xfrm>
            <a:off x="740226" y="3008106"/>
            <a:ext cx="10459453" cy="675861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4280"/>
              </a:lnSpc>
            </a:pPr>
            <a:r>
              <a:rPr lang="ru-RU" sz="4400" dirty="0">
                <a:solidFill>
                  <a:schemeClr val="bg1"/>
                </a:solidFill>
                <a:latin typeface="DINPro-Black" panose="02000503030000020003" pitchFamily="2" charset="0"/>
              </a:rPr>
              <a:t>ОСНОВНЫЕ ПРИНЦИПЫ</a:t>
            </a:r>
            <a:br>
              <a:rPr lang="ru-RU" sz="4400" dirty="0">
                <a:solidFill>
                  <a:schemeClr val="bg1"/>
                </a:solidFill>
                <a:latin typeface="DINPro-Black" panose="02000503030000020003" pitchFamily="2" charset="0"/>
              </a:rPr>
            </a:br>
            <a:br>
              <a:rPr lang="ru-RU" sz="4400" dirty="0">
                <a:solidFill>
                  <a:schemeClr val="bg1"/>
                </a:solidFill>
                <a:latin typeface="DINPro-Black" panose="02000503030000020003" pitchFamily="2" charset="0"/>
              </a:rPr>
            </a:br>
            <a:endParaRPr lang="de-DE" sz="4400" dirty="0">
              <a:solidFill>
                <a:schemeClr val="bg1"/>
              </a:solidFill>
              <a:latin typeface="DINPro-Black" panose="02000503030000020003" pitchFamily="2" charset="0"/>
            </a:endParaRP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2937A0B7-FAC3-8D41-A88F-F9D9CF3BE55F}"/>
              </a:ext>
            </a:extLst>
          </p:cNvPr>
          <p:cNvSpPr txBox="1">
            <a:spLocks/>
          </p:cNvSpPr>
          <p:nvPr/>
        </p:nvSpPr>
        <p:spPr>
          <a:xfrm>
            <a:off x="740227" y="3597964"/>
            <a:ext cx="10459453" cy="675861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4280"/>
              </a:lnSpc>
            </a:pPr>
            <a:r>
              <a:rPr lang="ru-RU" sz="2400" b="0" cap="none" dirty="0">
                <a:solidFill>
                  <a:srgbClr val="DADADA"/>
                </a:solidFill>
                <a:latin typeface="DINPro-Regular" panose="02000503030000020003" pitchFamily="2" charset="0"/>
              </a:rPr>
              <a:t>Объединение машинных рингов</a:t>
            </a:r>
            <a:endParaRPr lang="de-DE" sz="2400" b="0" cap="none" dirty="0">
              <a:solidFill>
                <a:srgbClr val="DADADA"/>
              </a:solidFill>
              <a:latin typeface="DINPro-Regular" panose="020005030300000200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71723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FE9443F-2B62-44C3-9AFF-0AD31ACB4E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800" y="1573201"/>
            <a:ext cx="11027400" cy="4266000"/>
          </a:xfrm>
        </p:spPr>
        <p:txBody>
          <a:bodyPr/>
          <a:lstStyle/>
          <a:p>
            <a:r>
              <a:rPr lang="de-DE" sz="2800" dirty="0">
                <a:solidFill>
                  <a:srgbClr val="65B32E"/>
                </a:solidFill>
                <a:latin typeface="DINPro-Black" panose="02000503030000020004" pitchFamily="2" charset="0"/>
              </a:rPr>
              <a:t>&gt;&gt; </a:t>
            </a:r>
            <a:r>
              <a:rPr lang="ru-RU" sz="2800" b="0" dirty="0">
                <a:solidFill>
                  <a:srgbClr val="414140"/>
                </a:solidFill>
                <a:latin typeface="DINPro-Black" panose="02000503030000020004" pitchFamily="2" charset="0"/>
              </a:rPr>
              <a:t>Д-р Эрих Гайерсбергер</a:t>
            </a:r>
            <a:r>
              <a:rPr lang="de-DE" sz="2800" b="0" dirty="0">
                <a:solidFill>
                  <a:srgbClr val="414140"/>
                </a:solidFill>
                <a:latin typeface="DINPro-Black" panose="02000503030000020004" pitchFamily="2" charset="0"/>
              </a:rPr>
              <a:t> </a:t>
            </a:r>
            <a:r>
              <a:rPr lang="ru-RU" sz="2800" b="0" dirty="0">
                <a:solidFill>
                  <a:srgbClr val="414140"/>
                </a:solidFill>
                <a:latin typeface="DINPro-Black" panose="02000503030000020004" pitchFamily="2" charset="0"/>
              </a:rPr>
              <a:t>основал в 1</a:t>
            </a:r>
            <a:r>
              <a:rPr lang="de-DE" sz="2800" b="0" dirty="0">
                <a:solidFill>
                  <a:srgbClr val="414140"/>
                </a:solidFill>
                <a:latin typeface="DINPro-Black" panose="02000503030000020004" pitchFamily="2" charset="0"/>
              </a:rPr>
              <a:t>958 </a:t>
            </a:r>
            <a:r>
              <a:rPr lang="ru-RU" sz="2800" b="0" dirty="0">
                <a:solidFill>
                  <a:srgbClr val="414140"/>
                </a:solidFill>
                <a:latin typeface="DINPro-Black" panose="02000503030000020004" pitchFamily="2" charset="0"/>
              </a:rPr>
              <a:t>году первое товарищество по совместному использованию сельхозтехники («</a:t>
            </a:r>
            <a:r>
              <a:rPr lang="de-DE" sz="2800" b="0" dirty="0">
                <a:solidFill>
                  <a:srgbClr val="414140"/>
                </a:solidFill>
                <a:latin typeface="DINPro-Black" panose="02000503030000020004" pitchFamily="2" charset="0"/>
              </a:rPr>
              <a:t>Maschinenring</a:t>
            </a:r>
            <a:r>
              <a:rPr lang="ru-RU" sz="2800" b="0" dirty="0">
                <a:solidFill>
                  <a:srgbClr val="414140"/>
                </a:solidFill>
                <a:latin typeface="DINPro-Black" panose="02000503030000020004" pitchFamily="2" charset="0"/>
              </a:rPr>
              <a:t>»)</a:t>
            </a:r>
            <a:endParaRPr lang="de-DE" sz="2800" dirty="0">
              <a:solidFill>
                <a:srgbClr val="65B32E"/>
              </a:solidFill>
              <a:latin typeface="DINPro-Black" panose="02000503030000020004" pitchFamily="2" charset="0"/>
            </a:endParaRPr>
          </a:p>
          <a:p>
            <a:r>
              <a:rPr lang="ru-RU" sz="2800" dirty="0">
                <a:solidFill>
                  <a:srgbClr val="65B32E"/>
                </a:solidFill>
                <a:latin typeface="DINPro-Black" panose="02000503030000020004" pitchFamily="2" charset="0"/>
              </a:rPr>
              <a:t>Переход с лошадей на машинную технику</a:t>
            </a:r>
            <a:endParaRPr lang="de-DE" sz="2800" dirty="0">
              <a:solidFill>
                <a:srgbClr val="65B32E"/>
              </a:solidFill>
              <a:latin typeface="DINPro-Black" panose="02000503030000020004" pitchFamily="2" charset="0"/>
            </a:endParaRPr>
          </a:p>
          <a:p>
            <a:r>
              <a:rPr lang="de-DE" sz="1800" b="0" dirty="0">
                <a:solidFill>
                  <a:srgbClr val="414140"/>
                </a:solidFill>
                <a:latin typeface="DINPro-Regular" panose="02000503030000020003" pitchFamily="2" charset="0"/>
              </a:rPr>
              <a:t>	</a:t>
            </a:r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- 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Мощность техники будет быстро расти</a:t>
            </a:r>
            <a:endParaRPr lang="de-DE" sz="2000" b="0" dirty="0">
              <a:solidFill>
                <a:srgbClr val="414140"/>
              </a:solidFill>
              <a:latin typeface="DINPro-Regular" panose="02000503030000020003" pitchFamily="2" charset="0"/>
            </a:endParaRPr>
          </a:p>
          <a:p>
            <a:r>
              <a:rPr lang="de-DE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	- </a:t>
            </a:r>
            <a:r>
              <a:rPr lang="ru-RU" sz="2000" b="0" dirty="0">
                <a:solidFill>
                  <a:srgbClr val="414140"/>
                </a:solidFill>
                <a:latin typeface="DINPro-Regular" panose="02000503030000020003" pitchFamily="2" charset="0"/>
              </a:rPr>
              <a:t>Производить на крупных предприятиях будет выгодней</a:t>
            </a:r>
            <a:endParaRPr lang="de-DE" sz="2000" b="0" dirty="0">
              <a:latin typeface="DINPro-Regular" panose="02000503030000020003" pitchFamily="2" charset="0"/>
            </a:endParaRPr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5"/>
          </p:nvPr>
        </p:nvSpPr>
        <p:spPr>
          <a:xfrm>
            <a:off x="952668" y="6444188"/>
            <a:ext cx="634789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8BCD4F-BD4F-4BE2-8B9E-34FFB4825014}" type="datetime1">
              <a:rPr lang="de-DE" smtClean="0"/>
              <a:pPr/>
              <a:t>24.06.2021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>
          <a:xfrm>
            <a:off x="1802616" y="6444188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Maschinenring | EB</a:t>
            </a:r>
            <a:endParaRPr lang="de-DE" dirty="0">
              <a:latin typeface="DINPro-Regular" charset="0"/>
              <a:ea typeface="DINPro-Regular" charset="0"/>
              <a:cs typeface="DINPro-Regular" charset="0"/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7"/>
          </p:nvPr>
        </p:nvSpPr>
        <p:spPr>
          <a:xfrm>
            <a:off x="479425" y="6444188"/>
            <a:ext cx="258084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36B8E5-3A52-4A78-81A8-094081A03A6D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Titel 3">
            <a:extLst>
              <a:ext uri="{FF2B5EF4-FFF2-40B4-BE49-F238E27FC236}">
                <a16:creationId xmlns:a16="http://schemas.microsoft.com/office/drawing/2014/main" id="{30DBCD57-31A6-F84A-8345-0D9008AD6D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65125"/>
            <a:ext cx="11233150" cy="430887"/>
          </a:xfrm>
        </p:spPr>
        <p:txBody>
          <a:bodyPr/>
          <a:lstStyle/>
          <a:p>
            <a:r>
              <a:rPr lang="ru-RU" dirty="0"/>
              <a:t>Идея основателЯ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E42C23D-2E7A-0845-B0E1-88AE2288CA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179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34">
            <a:extLst>
              <a:ext uri="{FF2B5EF4-FFF2-40B4-BE49-F238E27FC236}">
                <a16:creationId xmlns:a16="http://schemas.microsoft.com/office/drawing/2014/main" id="{73A2E69E-0D69-364D-B915-918644BDBD3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57944"/>
            <a:ext cx="12192000" cy="9144000"/>
          </a:xfrm>
          <a:prstGeom prst="rect">
            <a:avLst/>
          </a:prstGeom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D3C070CD-1F0B-6147-8D73-33AF7E45C3C2}"/>
              </a:ext>
            </a:extLst>
          </p:cNvPr>
          <p:cNvSpPr txBox="1">
            <a:spLocks/>
          </p:cNvSpPr>
          <p:nvPr/>
        </p:nvSpPr>
        <p:spPr>
          <a:xfrm>
            <a:off x="740227" y="123458"/>
            <a:ext cx="10287001" cy="113928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ts val="3080"/>
              </a:lnSpc>
            </a:pPr>
            <a:r>
              <a:rPr lang="ru-RU" sz="2400" dirty="0">
                <a:solidFill>
                  <a:srgbClr val="414140"/>
                </a:solidFill>
                <a:latin typeface="DINPro-Black" panose="02000503030000020004" pitchFamily="2" charset="0"/>
              </a:rPr>
              <a:t>Д-р Эрих </a:t>
            </a:r>
            <a:r>
              <a:rPr lang="ru-RU" sz="2400" dirty="0" err="1">
                <a:solidFill>
                  <a:srgbClr val="414140"/>
                </a:solidFill>
                <a:latin typeface="DINPro-Black" panose="02000503030000020004" pitchFamily="2" charset="0"/>
              </a:rPr>
              <a:t>Гайерсбергер</a:t>
            </a:r>
            <a:br>
              <a:rPr lang="de-DE" sz="2400" b="1" dirty="0">
                <a:solidFill>
                  <a:schemeClr val="bg1"/>
                </a:solidFill>
                <a:latin typeface="DINPro-Black" panose="02000503030000020004" pitchFamily="2" charset="0"/>
              </a:rPr>
            </a:br>
            <a:r>
              <a:rPr lang="ru-RU" sz="2400" b="1" dirty="0">
                <a:solidFill>
                  <a:srgbClr val="65B32E"/>
                </a:solidFill>
                <a:latin typeface="DINPro-Black" panose="02000503030000020004" pitchFamily="2" charset="0"/>
              </a:rPr>
              <a:t>Идея основателя</a:t>
            </a:r>
            <a:endParaRPr lang="de-DE" sz="2400" b="1" dirty="0">
              <a:solidFill>
                <a:srgbClr val="65B32E"/>
              </a:solidFill>
              <a:latin typeface="DINPro-Black" panose="02000503030000020004" pitchFamily="2" charset="0"/>
            </a:endParaRP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4C2B13D-6064-414D-AD8A-48FC6937F4E8}"/>
              </a:ext>
            </a:extLst>
          </p:cNvPr>
          <p:cNvSpPr txBox="1">
            <a:spLocks/>
          </p:cNvSpPr>
          <p:nvPr/>
        </p:nvSpPr>
        <p:spPr>
          <a:xfrm>
            <a:off x="740227" y="2267462"/>
            <a:ext cx="10857724" cy="23876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4280"/>
              </a:lnSpc>
            </a:pPr>
            <a:r>
              <a:rPr lang="ru-RU" sz="4400" dirty="0">
                <a:solidFill>
                  <a:srgbClr val="65B32E"/>
                </a:solidFill>
                <a:latin typeface="DINPro-Black" panose="02000503030000020003" pitchFamily="2" charset="0"/>
              </a:rPr>
              <a:t>Создать такую систему</a:t>
            </a:r>
            <a:r>
              <a:rPr lang="de-DE" sz="4400" dirty="0">
                <a:solidFill>
                  <a:srgbClr val="65B32E"/>
                </a:solidFill>
                <a:latin typeface="DINPro-Black" panose="02000503030000020003" pitchFamily="2" charset="0"/>
              </a:rPr>
              <a:t>,</a:t>
            </a:r>
            <a:br>
              <a:rPr lang="de-DE" sz="4400" dirty="0">
                <a:solidFill>
                  <a:srgbClr val="65B32E"/>
                </a:solidFill>
                <a:latin typeface="DINPro-Black" panose="02000503030000020003" pitchFamily="2" charset="0"/>
              </a:rPr>
            </a:br>
            <a:r>
              <a:rPr lang="ru-RU" sz="4400" dirty="0">
                <a:solidFill>
                  <a:srgbClr val="65B32E"/>
                </a:solidFill>
                <a:latin typeface="DINPro-Black" panose="02000503030000020003" pitchFamily="2" charset="0"/>
              </a:rPr>
              <a:t>чтобы все сельхозпредприятия сохранили  конкурентоспособность</a:t>
            </a:r>
            <a:r>
              <a:rPr lang="de-DE" sz="4400" dirty="0">
                <a:solidFill>
                  <a:srgbClr val="65B32E"/>
                </a:solidFill>
                <a:latin typeface="DINPro-Black" panose="02000503030000020003" pitchFamily="2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9832730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Bild 34"/>
          <p:cNvPicPr>
            <a:picLocks noChangeAspect="1"/>
          </p:cNvPicPr>
          <p:nvPr/>
        </p:nvPicPr>
        <p:blipFill>
          <a:blip r:embed="rId3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4898" y="-1572443"/>
            <a:ext cx="12192000" cy="9144000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E6D41C53-3866-C54F-9466-6EEFCBF8D0BA}"/>
              </a:ext>
            </a:extLst>
          </p:cNvPr>
          <p:cNvGrpSpPr/>
          <p:nvPr/>
        </p:nvGrpSpPr>
        <p:grpSpPr>
          <a:xfrm>
            <a:off x="-21516" y="55094"/>
            <a:ext cx="4282441" cy="1675464"/>
            <a:chOff x="0" y="167232"/>
            <a:chExt cx="4282441" cy="1675464"/>
          </a:xfrm>
        </p:grpSpPr>
        <p:sp>
          <p:nvSpPr>
            <p:cNvPr id="15" name="Rechteck 14"/>
            <p:cNvSpPr/>
            <p:nvPr/>
          </p:nvSpPr>
          <p:spPr>
            <a:xfrm>
              <a:off x="335281" y="977032"/>
              <a:ext cx="3947160" cy="8309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r"/>
              <a:r>
                <a:rPr lang="ru-RU" dirty="0">
                  <a:solidFill>
                    <a:schemeClr val="bg1"/>
                  </a:solidFill>
                  <a:latin typeface="DINPro-Regular" panose="02000503030000020003" pitchFamily="2" charset="0"/>
                  <a:ea typeface="DINPro-Regular" charset="0"/>
                  <a:cs typeface="DINPro-Regular" charset="0"/>
                </a:rPr>
                <a:t>Д-р Эрих </a:t>
              </a:r>
              <a:r>
                <a:rPr lang="ru-RU" dirty="0" err="1">
                  <a:solidFill>
                    <a:schemeClr val="bg1"/>
                  </a:solidFill>
                  <a:latin typeface="DINPro-Regular" panose="02000503030000020003" pitchFamily="2" charset="0"/>
                  <a:ea typeface="DINPro-Regular" charset="0"/>
                  <a:cs typeface="DINPro-Regular" charset="0"/>
                </a:rPr>
                <a:t>Гайерсбергер</a:t>
              </a:r>
              <a:r>
                <a:rPr lang="ru-RU" dirty="0">
                  <a:solidFill>
                    <a:schemeClr val="bg1"/>
                  </a:solidFill>
                  <a:latin typeface="DINPro-Regular" panose="02000503030000020003" pitchFamily="2" charset="0"/>
                  <a:ea typeface="DINPro-Regular" charset="0"/>
                  <a:cs typeface="DINPro-Regular" charset="0"/>
                </a:rPr>
                <a:t> </a:t>
              </a:r>
              <a:br>
                <a:rPr lang="ru-RU" dirty="0">
                  <a:solidFill>
                    <a:schemeClr val="bg1"/>
                  </a:solidFill>
                  <a:latin typeface="DINPro-Regular" panose="02000503030000020003" pitchFamily="2" charset="0"/>
                  <a:ea typeface="DINPro-Regular" charset="0"/>
                  <a:cs typeface="DINPro-Regular" charset="0"/>
                </a:rPr>
              </a:br>
              <a:r>
                <a:rPr lang="ru-RU" dirty="0">
                  <a:solidFill>
                    <a:schemeClr val="bg1"/>
                  </a:solidFill>
                  <a:latin typeface="DINPro-Regular" panose="02000503030000020003" pitchFamily="2" charset="0"/>
                  <a:ea typeface="DINPro-Regular" charset="0"/>
                  <a:cs typeface="DINPro-Regular" charset="0"/>
                </a:rPr>
                <a:t>создает первый машинный ринг </a:t>
              </a:r>
              <a:br>
                <a:rPr lang="ru-RU" dirty="0">
                  <a:solidFill>
                    <a:schemeClr val="bg1"/>
                  </a:solidFill>
                  <a:latin typeface="DINPro-Regular" panose="02000503030000020003" pitchFamily="2" charset="0"/>
                  <a:ea typeface="DINPro-Regular" charset="0"/>
                  <a:cs typeface="DINPro-Regular" charset="0"/>
                </a:rPr>
              </a:br>
              <a:r>
                <a:rPr lang="ru-RU" dirty="0">
                  <a:solidFill>
                    <a:schemeClr val="bg1"/>
                  </a:solidFill>
                  <a:latin typeface="DINPro-Regular" panose="02000503030000020003" pitchFamily="2" charset="0"/>
                  <a:ea typeface="DINPro-Regular" charset="0"/>
                  <a:cs typeface="DINPro-Regular" charset="0"/>
                </a:rPr>
                <a:t>в </a:t>
              </a:r>
              <a:r>
                <a:rPr lang="ru-RU" dirty="0" err="1">
                  <a:solidFill>
                    <a:schemeClr val="bg1"/>
                  </a:solidFill>
                  <a:latin typeface="DINPro-Regular" panose="02000503030000020003" pitchFamily="2" charset="0"/>
                  <a:ea typeface="DINPro-Regular" charset="0"/>
                  <a:cs typeface="DINPro-Regular" charset="0"/>
                </a:rPr>
                <a:t>Буххофене</a:t>
              </a:r>
              <a:r>
                <a:rPr lang="ru-RU" dirty="0">
                  <a:solidFill>
                    <a:schemeClr val="bg1"/>
                  </a:solidFill>
                  <a:latin typeface="DINPro-Regular" panose="02000503030000020003" pitchFamily="2" charset="0"/>
                  <a:ea typeface="DINPro-Regular" charset="0"/>
                  <a:cs typeface="DINPro-Regular" charset="0"/>
                </a:rPr>
                <a:t> (Бавария)</a:t>
              </a:r>
              <a:endParaRPr lang="de-DE" dirty="0">
                <a:solidFill>
                  <a:schemeClr val="bg1"/>
                </a:solidFill>
                <a:latin typeface="DINPro-Regular" panose="02000503030000020003" pitchFamily="2" charset="0"/>
                <a:ea typeface="DINPro-Regular" charset="0"/>
                <a:cs typeface="DINPro-Regular" charset="0"/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2059286" y="167232"/>
              <a:ext cx="2223155" cy="67710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r"/>
              <a:r>
                <a:rPr lang="de-DE" sz="4400" b="1" dirty="0">
                  <a:solidFill>
                    <a:schemeClr val="bg1"/>
                  </a:solidFill>
                  <a:latin typeface="DINPro-Black" panose="02000503030000020004" pitchFamily="2" charset="0"/>
                  <a:ea typeface="DINPro-Black" charset="0"/>
                  <a:cs typeface="DINPro-Black" charset="0"/>
                </a:rPr>
                <a:t>1958</a:t>
              </a:r>
            </a:p>
          </p:txBody>
        </p:sp>
        <p:sp>
          <p:nvSpPr>
            <p:cNvPr id="31" name="Freihandform 30"/>
            <p:cNvSpPr/>
            <p:nvPr/>
          </p:nvSpPr>
          <p:spPr>
            <a:xfrm>
              <a:off x="0" y="874956"/>
              <a:ext cx="4282440" cy="967740"/>
            </a:xfrm>
            <a:custGeom>
              <a:avLst/>
              <a:gdLst>
                <a:gd name="connsiteX0" fmla="*/ 0 w 4282440"/>
                <a:gd name="connsiteY0" fmla="*/ 967740 h 967740"/>
                <a:gd name="connsiteX1" fmla="*/ 967740 w 4282440"/>
                <a:gd name="connsiteY1" fmla="*/ 0 h 967740"/>
                <a:gd name="connsiteX2" fmla="*/ 4267200 w 4282440"/>
                <a:gd name="connsiteY2" fmla="*/ 0 h 967740"/>
                <a:gd name="connsiteX3" fmla="*/ 4282440 w 4282440"/>
                <a:gd name="connsiteY3" fmla="*/ 15240 h 967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82440" h="967740">
                  <a:moveTo>
                    <a:pt x="0" y="967740"/>
                  </a:moveTo>
                  <a:lnTo>
                    <a:pt x="967740" y="0"/>
                  </a:lnTo>
                  <a:lnTo>
                    <a:pt x="4267200" y="0"/>
                  </a:lnTo>
                  <a:lnTo>
                    <a:pt x="4282440" y="15240"/>
                  </a:lnTo>
                </a:path>
              </a:pathLst>
            </a:custGeom>
            <a:noFill/>
            <a:ln w="38100"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9" name="Gerade Verbindung 8">
            <a:extLst>
              <a:ext uri="{FF2B5EF4-FFF2-40B4-BE49-F238E27FC236}">
                <a16:creationId xmlns:a16="http://schemas.microsoft.com/office/drawing/2014/main" id="{C22AF030-507B-BE4C-BC56-F7A2D9A5B5AF}"/>
              </a:ext>
            </a:extLst>
          </p:cNvPr>
          <p:cNvCxnSpPr>
            <a:cxnSpLocks/>
          </p:cNvCxnSpPr>
          <p:nvPr/>
        </p:nvCxnSpPr>
        <p:spPr>
          <a:xfrm>
            <a:off x="6095248" y="2118841"/>
            <a:ext cx="752" cy="5361482"/>
          </a:xfrm>
          <a:prstGeom prst="line">
            <a:avLst/>
          </a:prstGeom>
          <a:ln w="63500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uppierung 20">
            <a:extLst>
              <a:ext uri="{FF2B5EF4-FFF2-40B4-BE49-F238E27FC236}">
                <a16:creationId xmlns:a16="http://schemas.microsoft.com/office/drawing/2014/main" id="{2F778098-FCC6-0246-A05E-717A63F78628}"/>
              </a:ext>
            </a:extLst>
          </p:cNvPr>
          <p:cNvGrpSpPr/>
          <p:nvPr/>
        </p:nvGrpSpPr>
        <p:grpSpPr>
          <a:xfrm>
            <a:off x="5868877" y="3706461"/>
            <a:ext cx="5725024" cy="1954709"/>
            <a:chOff x="5833117" y="-211383"/>
            <a:chExt cx="5725024" cy="1954709"/>
          </a:xfrm>
        </p:grpSpPr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07312FA7-981A-3F4F-8B29-6D512F7841F3}"/>
                </a:ext>
              </a:extLst>
            </p:cNvPr>
            <p:cNvSpPr/>
            <p:nvPr/>
          </p:nvSpPr>
          <p:spPr>
            <a:xfrm>
              <a:off x="6679309" y="542997"/>
              <a:ext cx="4878832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dirty="0">
                  <a:solidFill>
                    <a:schemeClr val="bg1"/>
                  </a:solidFill>
                  <a:latin typeface="DINPro-Regular" panose="02000503030000020003" pitchFamily="2" charset="0"/>
                  <a:ea typeface="DINPro-Regular" charset="0"/>
                  <a:cs typeface="DINPro-Regular" charset="0"/>
                </a:rPr>
                <a:t>Сообщество товариществ </a:t>
              </a:r>
              <a:br>
                <a:rPr lang="ru-RU" dirty="0">
                  <a:solidFill>
                    <a:schemeClr val="bg1"/>
                  </a:solidFill>
                  <a:latin typeface="DINPro-Regular" panose="02000503030000020003" pitchFamily="2" charset="0"/>
                  <a:ea typeface="DINPro-Regular" charset="0"/>
                  <a:cs typeface="DINPro-Regular" charset="0"/>
                </a:rPr>
              </a:br>
              <a:r>
                <a:rPr lang="ru-RU" dirty="0">
                  <a:solidFill>
                    <a:schemeClr val="bg1"/>
                  </a:solidFill>
                  <a:latin typeface="DINPro-Regular" panose="02000503030000020003" pitchFamily="2" charset="0"/>
                  <a:ea typeface="DINPro-Regular" charset="0"/>
                  <a:cs typeface="DINPro-Regular" charset="0"/>
                </a:rPr>
                <a:t>по совместному использованию сельскохозяйственной техники</a:t>
              </a:r>
              <a:r>
                <a:rPr lang="de-DE" dirty="0">
                  <a:solidFill>
                    <a:schemeClr val="bg1"/>
                  </a:solidFill>
                  <a:latin typeface="DINPro-Regular" panose="02000503030000020003" pitchFamily="2" charset="0"/>
                  <a:ea typeface="DINPro-Regular" charset="0"/>
                  <a:cs typeface="DINPro-Regular" charset="0"/>
                </a:rPr>
                <a:t> </a:t>
              </a:r>
              <a:r>
                <a:rPr lang="ru-RU" dirty="0">
                  <a:solidFill>
                    <a:schemeClr val="bg1"/>
                  </a:solidFill>
                  <a:latin typeface="DINPro-Regular" panose="02000503030000020003" pitchFamily="2" charset="0"/>
                  <a:ea typeface="DINPro-Regular" charset="0"/>
                  <a:cs typeface="DINPro-Regular" charset="0"/>
                </a:rPr>
                <a:t> </a:t>
              </a:r>
              <a:br>
                <a:rPr lang="ru-RU" dirty="0">
                  <a:solidFill>
                    <a:schemeClr val="bg1"/>
                  </a:solidFill>
                  <a:latin typeface="DINPro-Regular" panose="02000503030000020003" pitchFamily="2" charset="0"/>
                  <a:ea typeface="DINPro-Regular" charset="0"/>
                  <a:cs typeface="DINPro-Regular" charset="0"/>
                </a:rPr>
              </a:br>
              <a:r>
                <a:rPr lang="ru-RU" dirty="0">
                  <a:solidFill>
                    <a:schemeClr val="bg1"/>
                  </a:solidFill>
                  <a:latin typeface="DINPro-Regular" panose="02000503030000020003" pitchFamily="2" charset="0"/>
                  <a:ea typeface="DINPro-Regular" charset="0"/>
                  <a:cs typeface="DINPro-Regular" charset="0"/>
                </a:rPr>
                <a:t>активно занимается цифровизацией</a:t>
              </a:r>
              <a:endParaRPr lang="de-DE" dirty="0">
                <a:solidFill>
                  <a:schemeClr val="bg1"/>
                </a:solidFill>
                <a:latin typeface="DINPro-Regular" panose="02000503030000020003" pitchFamily="2" charset="0"/>
                <a:ea typeface="DINPro-Regular" charset="0"/>
                <a:cs typeface="DINPro-Regular" charset="0"/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5C6D4C9F-5450-5A45-AACD-17DB9A7E0B46}"/>
                </a:ext>
              </a:extLst>
            </p:cNvPr>
            <p:cNvSpPr/>
            <p:nvPr/>
          </p:nvSpPr>
          <p:spPr>
            <a:xfrm>
              <a:off x="8124806" y="-211383"/>
              <a:ext cx="2350272" cy="769441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r"/>
              <a:r>
                <a:rPr lang="de-DE" sz="3600" b="1" dirty="0">
                  <a:solidFill>
                    <a:schemeClr val="bg1"/>
                  </a:solidFill>
                  <a:latin typeface="DINPro-Black" panose="02000503030000020004" pitchFamily="2" charset="0"/>
                  <a:ea typeface="DINPro-Black" charset="0"/>
                  <a:cs typeface="DINPro-Black" charset="0"/>
                </a:rPr>
                <a:t>c </a:t>
              </a:r>
              <a:r>
                <a:rPr lang="de-DE" sz="4400" b="1" dirty="0">
                  <a:solidFill>
                    <a:schemeClr val="bg1"/>
                  </a:solidFill>
                  <a:latin typeface="DINPro-Black" panose="02000503030000020004" pitchFamily="2" charset="0"/>
                  <a:ea typeface="DINPro-Black" charset="0"/>
                  <a:cs typeface="DINPro-Black" charset="0"/>
                </a:rPr>
                <a:t>2017</a:t>
              </a:r>
            </a:p>
          </p:txBody>
        </p:sp>
        <p:sp>
          <p:nvSpPr>
            <p:cNvPr id="24" name="Freihandform 23">
              <a:extLst>
                <a:ext uri="{FF2B5EF4-FFF2-40B4-BE49-F238E27FC236}">
                  <a16:creationId xmlns:a16="http://schemas.microsoft.com/office/drawing/2014/main" id="{E35ED7D3-3636-1D4E-8EBC-FA64C02203EE}"/>
                </a:ext>
              </a:extLst>
            </p:cNvPr>
            <p:cNvSpPr/>
            <p:nvPr/>
          </p:nvSpPr>
          <p:spPr>
            <a:xfrm>
              <a:off x="6065520" y="440921"/>
              <a:ext cx="4282440" cy="967740"/>
            </a:xfrm>
            <a:custGeom>
              <a:avLst/>
              <a:gdLst>
                <a:gd name="connsiteX0" fmla="*/ 0 w 4282440"/>
                <a:gd name="connsiteY0" fmla="*/ 967740 h 967740"/>
                <a:gd name="connsiteX1" fmla="*/ 967740 w 4282440"/>
                <a:gd name="connsiteY1" fmla="*/ 0 h 967740"/>
                <a:gd name="connsiteX2" fmla="*/ 4267200 w 4282440"/>
                <a:gd name="connsiteY2" fmla="*/ 0 h 967740"/>
                <a:gd name="connsiteX3" fmla="*/ 4282440 w 4282440"/>
                <a:gd name="connsiteY3" fmla="*/ 15240 h 967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82440" h="967740">
                  <a:moveTo>
                    <a:pt x="0" y="967740"/>
                  </a:moveTo>
                  <a:lnTo>
                    <a:pt x="967740" y="0"/>
                  </a:lnTo>
                  <a:lnTo>
                    <a:pt x="4267200" y="0"/>
                  </a:lnTo>
                  <a:lnTo>
                    <a:pt x="4282440" y="15240"/>
                  </a:lnTo>
                </a:path>
              </a:pathLst>
            </a:custGeom>
            <a:noFill/>
            <a:ln w="38100"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0E16A034-6CA8-B447-A489-CFC7BD27C461}"/>
                </a:ext>
              </a:extLst>
            </p:cNvPr>
            <p:cNvSpPr/>
            <p:nvPr/>
          </p:nvSpPr>
          <p:spPr>
            <a:xfrm>
              <a:off x="5833117" y="1194240"/>
              <a:ext cx="454246" cy="45424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6" name="Gruppierung 20">
            <a:extLst>
              <a:ext uri="{FF2B5EF4-FFF2-40B4-BE49-F238E27FC236}">
                <a16:creationId xmlns:a16="http://schemas.microsoft.com/office/drawing/2014/main" id="{8D81D875-67D7-7E4A-BCAA-3EA1A47A4689}"/>
              </a:ext>
            </a:extLst>
          </p:cNvPr>
          <p:cNvGrpSpPr/>
          <p:nvPr/>
        </p:nvGrpSpPr>
        <p:grpSpPr>
          <a:xfrm>
            <a:off x="5868877" y="430115"/>
            <a:ext cx="5567941" cy="1859869"/>
            <a:chOff x="5833117" y="-211383"/>
            <a:chExt cx="5567941" cy="1859869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ED6C4C79-6D67-5A43-B72B-FA631044BB86}"/>
                </a:ext>
              </a:extLst>
            </p:cNvPr>
            <p:cNvSpPr/>
            <p:nvPr/>
          </p:nvSpPr>
          <p:spPr>
            <a:xfrm>
              <a:off x="6812909" y="542997"/>
              <a:ext cx="4588149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dirty="0">
                  <a:solidFill>
                    <a:schemeClr val="bg1"/>
                  </a:solidFill>
                  <a:latin typeface="DINPro-Regular" panose="02000503030000020003" pitchFamily="2" charset="0"/>
                  <a:ea typeface="DINPro-Regular" charset="0"/>
                  <a:cs typeface="DINPro-Regular" charset="0"/>
                </a:rPr>
                <a:t>Создание в Нижней Саксонии первой организации по оказанию помощи предприятиям (</a:t>
              </a:r>
              <a:r>
                <a:rPr lang="de-DE" dirty="0">
                  <a:solidFill>
                    <a:schemeClr val="bg1"/>
                  </a:solidFill>
                  <a:latin typeface="DINPro-Regular" panose="02000503030000020003" pitchFamily="2" charset="0"/>
                  <a:ea typeface="DINPro-Regular" charset="0"/>
                  <a:cs typeface="DINPro-Regular" charset="0"/>
                </a:rPr>
                <a:t>„Betriebshilfswerk“</a:t>
              </a:r>
              <a:r>
                <a:rPr lang="ru-RU" dirty="0">
                  <a:solidFill>
                    <a:schemeClr val="bg1"/>
                  </a:solidFill>
                  <a:latin typeface="DINPro-Regular" panose="02000503030000020003" pitchFamily="2" charset="0"/>
                  <a:ea typeface="DINPro-Regular" charset="0"/>
                  <a:cs typeface="DINPro-Regular" charset="0"/>
                </a:rPr>
                <a:t>)</a:t>
              </a:r>
              <a:r>
                <a:rPr lang="de-DE" dirty="0">
                  <a:solidFill>
                    <a:schemeClr val="bg1"/>
                  </a:solidFill>
                  <a:latin typeface="DINPro-Regular" panose="02000503030000020003" pitchFamily="2" charset="0"/>
                  <a:ea typeface="DINPro-Regular" charset="0"/>
                  <a:cs typeface="DINPro-Regular" charset="0"/>
                </a:rPr>
                <a:t> </a:t>
              </a: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6D3D210D-696E-CD4F-B634-37996C89BCF9}"/>
                </a:ext>
              </a:extLst>
            </p:cNvPr>
            <p:cNvSpPr/>
            <p:nvPr/>
          </p:nvSpPr>
          <p:spPr>
            <a:xfrm>
              <a:off x="8124806" y="-211383"/>
              <a:ext cx="2350272" cy="769441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r"/>
              <a:r>
                <a:rPr lang="de-DE" sz="4400" b="1" dirty="0">
                  <a:solidFill>
                    <a:schemeClr val="bg1"/>
                  </a:solidFill>
                  <a:latin typeface="DINPro-Black" panose="02000503030000020004" pitchFamily="2" charset="0"/>
                  <a:ea typeface="DINPro-Black" charset="0"/>
                  <a:cs typeface="DINPro-Black" charset="0"/>
                </a:rPr>
                <a:t>1974</a:t>
              </a:r>
            </a:p>
          </p:txBody>
        </p:sp>
        <p:sp>
          <p:nvSpPr>
            <p:cNvPr id="29" name="Freihandform 28">
              <a:extLst>
                <a:ext uri="{FF2B5EF4-FFF2-40B4-BE49-F238E27FC236}">
                  <a16:creationId xmlns:a16="http://schemas.microsoft.com/office/drawing/2014/main" id="{E261913B-74EA-AF45-94C0-0FA421DCF42C}"/>
                </a:ext>
              </a:extLst>
            </p:cNvPr>
            <p:cNvSpPr/>
            <p:nvPr/>
          </p:nvSpPr>
          <p:spPr>
            <a:xfrm>
              <a:off x="6065520" y="440921"/>
              <a:ext cx="4282440" cy="967740"/>
            </a:xfrm>
            <a:custGeom>
              <a:avLst/>
              <a:gdLst>
                <a:gd name="connsiteX0" fmla="*/ 0 w 4282440"/>
                <a:gd name="connsiteY0" fmla="*/ 967740 h 967740"/>
                <a:gd name="connsiteX1" fmla="*/ 967740 w 4282440"/>
                <a:gd name="connsiteY1" fmla="*/ 0 h 967740"/>
                <a:gd name="connsiteX2" fmla="*/ 4267200 w 4282440"/>
                <a:gd name="connsiteY2" fmla="*/ 0 h 967740"/>
                <a:gd name="connsiteX3" fmla="*/ 4282440 w 4282440"/>
                <a:gd name="connsiteY3" fmla="*/ 15240 h 967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82440" h="967740">
                  <a:moveTo>
                    <a:pt x="0" y="967740"/>
                  </a:moveTo>
                  <a:lnTo>
                    <a:pt x="967740" y="0"/>
                  </a:lnTo>
                  <a:lnTo>
                    <a:pt x="4267200" y="0"/>
                  </a:lnTo>
                  <a:lnTo>
                    <a:pt x="4282440" y="15240"/>
                  </a:lnTo>
                </a:path>
              </a:pathLst>
            </a:custGeom>
            <a:noFill/>
            <a:ln w="38100"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E60DF599-D2D5-8742-B0DE-02AF9A717097}"/>
                </a:ext>
              </a:extLst>
            </p:cNvPr>
            <p:cNvSpPr/>
            <p:nvPr/>
          </p:nvSpPr>
          <p:spPr>
            <a:xfrm>
              <a:off x="5833117" y="1194240"/>
              <a:ext cx="454246" cy="45424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9" name="Gruppierung 4">
            <a:extLst>
              <a:ext uri="{FF2B5EF4-FFF2-40B4-BE49-F238E27FC236}">
                <a16:creationId xmlns:a16="http://schemas.microsoft.com/office/drawing/2014/main" id="{5C8BF4C0-BBBC-B94F-A992-806C268DFF21}"/>
              </a:ext>
            </a:extLst>
          </p:cNvPr>
          <p:cNvGrpSpPr/>
          <p:nvPr/>
        </p:nvGrpSpPr>
        <p:grpSpPr>
          <a:xfrm>
            <a:off x="1110343" y="4688315"/>
            <a:ext cx="5215254" cy="1946084"/>
            <a:chOff x="1107869" y="4429944"/>
            <a:chExt cx="5215254" cy="1946084"/>
          </a:xfrm>
        </p:grpSpPr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A32E4FA9-900A-B949-B3C4-746104EB3008}"/>
                </a:ext>
              </a:extLst>
            </p:cNvPr>
            <p:cNvSpPr/>
            <p:nvPr/>
          </p:nvSpPr>
          <p:spPr>
            <a:xfrm>
              <a:off x="1107869" y="5175699"/>
              <a:ext cx="4339158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dirty="0">
                  <a:solidFill>
                    <a:schemeClr val="bg1"/>
                  </a:solidFill>
                  <a:latin typeface="DINPro-Regular" panose="02000503030000020003" pitchFamily="2" charset="0"/>
                </a:rPr>
                <a:t>Кампания по рекрутингу помощников</a:t>
              </a:r>
              <a:br>
                <a:rPr lang="ru-RU" dirty="0">
                  <a:solidFill>
                    <a:schemeClr val="bg1"/>
                  </a:solidFill>
                  <a:latin typeface="DINPro-Regular" panose="02000503030000020003" pitchFamily="2" charset="0"/>
                </a:rPr>
              </a:br>
              <a:r>
                <a:rPr lang="ru-RU" dirty="0">
                  <a:solidFill>
                    <a:schemeClr val="bg1"/>
                  </a:solidFill>
                  <a:latin typeface="DINPro-Regular" panose="02000503030000020003" pitchFamily="2" charset="0"/>
                </a:rPr>
                <a:t>для с/х предприятий</a:t>
              </a:r>
              <a:r>
                <a:rPr lang="de-DE" dirty="0">
                  <a:solidFill>
                    <a:schemeClr val="bg1"/>
                  </a:solidFill>
                  <a:latin typeface="DINPro-Regular" panose="02000503030000020003" pitchFamily="2" charset="0"/>
                </a:rPr>
                <a:t> – </a:t>
              </a:r>
              <a:r>
                <a:rPr lang="ru-RU" dirty="0">
                  <a:solidFill>
                    <a:schemeClr val="bg1"/>
                  </a:solidFill>
                  <a:latin typeface="DINPro-Regular" panose="02000503030000020003" pitchFamily="2" charset="0"/>
                </a:rPr>
                <a:t>крупнейший социальный проект </a:t>
              </a:r>
              <a:br>
                <a:rPr lang="ru-RU" dirty="0">
                  <a:solidFill>
                    <a:schemeClr val="bg1"/>
                  </a:solidFill>
                  <a:latin typeface="DINPro-Regular" panose="02000503030000020003" pitchFamily="2" charset="0"/>
                </a:rPr>
              </a:br>
              <a:r>
                <a:rPr lang="ru-RU" dirty="0">
                  <a:solidFill>
                    <a:schemeClr val="bg1"/>
                  </a:solidFill>
                  <a:latin typeface="DINPro-Regular" panose="02000503030000020003" pitchFamily="2" charset="0"/>
                </a:rPr>
                <a:t>в сельском хозяйстве</a:t>
              </a:r>
              <a:endParaRPr lang="de-DE" dirty="0">
                <a:solidFill>
                  <a:schemeClr val="bg1"/>
                </a:solidFill>
                <a:latin typeface="DINPro-Regular" panose="02000503030000020003" pitchFamily="2" charset="0"/>
              </a:endParaRPr>
            </a:p>
          </p:txBody>
        </p:sp>
        <p:sp>
          <p:nvSpPr>
            <p:cNvPr id="41" name="Rechteck 40">
              <a:extLst>
                <a:ext uri="{FF2B5EF4-FFF2-40B4-BE49-F238E27FC236}">
                  <a16:creationId xmlns:a16="http://schemas.microsoft.com/office/drawing/2014/main" id="{43166667-F804-DA41-BC51-467514DEB747}"/>
                </a:ext>
              </a:extLst>
            </p:cNvPr>
            <p:cNvSpPr/>
            <p:nvPr/>
          </p:nvSpPr>
          <p:spPr>
            <a:xfrm>
              <a:off x="1689321" y="4429944"/>
              <a:ext cx="2350272" cy="769441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r>
                <a:rPr lang="de-DE" sz="4400" b="1" dirty="0">
                  <a:solidFill>
                    <a:schemeClr val="bg1"/>
                  </a:solidFill>
                  <a:latin typeface="DINPro-Black" panose="02000503030000020004" pitchFamily="2" charset="0"/>
                  <a:ea typeface="DINPro-Black" charset="0"/>
                  <a:cs typeface="DINPro-Black" charset="0"/>
                </a:rPr>
                <a:t>2020</a:t>
              </a:r>
            </a:p>
          </p:txBody>
        </p:sp>
        <p:sp>
          <p:nvSpPr>
            <p:cNvPr id="42" name="Freihandform 41">
              <a:extLst>
                <a:ext uri="{FF2B5EF4-FFF2-40B4-BE49-F238E27FC236}">
                  <a16:creationId xmlns:a16="http://schemas.microsoft.com/office/drawing/2014/main" id="{45F5D880-124E-2742-8FA7-72FA230019BF}"/>
                </a:ext>
              </a:extLst>
            </p:cNvPr>
            <p:cNvSpPr>
              <a:spLocks/>
            </p:cNvSpPr>
            <p:nvPr/>
          </p:nvSpPr>
          <p:spPr>
            <a:xfrm rot="10800000" flipV="1">
              <a:off x="1776188" y="5073623"/>
              <a:ext cx="4282440" cy="967740"/>
            </a:xfrm>
            <a:custGeom>
              <a:avLst/>
              <a:gdLst>
                <a:gd name="connsiteX0" fmla="*/ 0 w 4282440"/>
                <a:gd name="connsiteY0" fmla="*/ 967740 h 967740"/>
                <a:gd name="connsiteX1" fmla="*/ 967740 w 4282440"/>
                <a:gd name="connsiteY1" fmla="*/ 0 h 967740"/>
                <a:gd name="connsiteX2" fmla="*/ 4267200 w 4282440"/>
                <a:gd name="connsiteY2" fmla="*/ 0 h 967740"/>
                <a:gd name="connsiteX3" fmla="*/ 4282440 w 4282440"/>
                <a:gd name="connsiteY3" fmla="*/ 15240 h 967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82440" h="967740">
                  <a:moveTo>
                    <a:pt x="0" y="967740"/>
                  </a:moveTo>
                  <a:lnTo>
                    <a:pt x="967740" y="0"/>
                  </a:lnTo>
                  <a:lnTo>
                    <a:pt x="4267200" y="0"/>
                  </a:lnTo>
                  <a:lnTo>
                    <a:pt x="4282440" y="15240"/>
                  </a:lnTo>
                </a:path>
              </a:pathLst>
            </a:custGeom>
            <a:noFill/>
            <a:ln w="38100">
              <a:solidFill>
                <a:schemeClr val="bg1">
                  <a:alpha val="3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E9123068-6D30-A54C-ACB9-CCFDD3ADE46C}"/>
                </a:ext>
              </a:extLst>
            </p:cNvPr>
            <p:cNvSpPr/>
            <p:nvPr/>
          </p:nvSpPr>
          <p:spPr>
            <a:xfrm>
              <a:off x="5868877" y="5672563"/>
              <a:ext cx="454246" cy="45424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5BEFEFFC-AE90-2649-9BEF-1289DA6D4BBF}"/>
              </a:ext>
            </a:extLst>
          </p:cNvPr>
          <p:cNvGrpSpPr/>
          <p:nvPr/>
        </p:nvGrpSpPr>
        <p:grpSpPr>
          <a:xfrm>
            <a:off x="313765" y="2614836"/>
            <a:ext cx="5997486" cy="1998637"/>
            <a:chOff x="313765" y="2985766"/>
            <a:chExt cx="5997486" cy="1998637"/>
          </a:xfrm>
        </p:grpSpPr>
        <p:grpSp>
          <p:nvGrpSpPr>
            <p:cNvPr id="14" name="Gruppierung 4">
              <a:extLst>
                <a:ext uri="{FF2B5EF4-FFF2-40B4-BE49-F238E27FC236}">
                  <a16:creationId xmlns:a16="http://schemas.microsoft.com/office/drawing/2014/main" id="{EB30E821-8A66-B14F-BB1D-E61F5AE968C4}"/>
                </a:ext>
              </a:extLst>
            </p:cNvPr>
            <p:cNvGrpSpPr/>
            <p:nvPr/>
          </p:nvGrpSpPr>
          <p:grpSpPr>
            <a:xfrm>
              <a:off x="313765" y="2985766"/>
              <a:ext cx="5666347" cy="1938010"/>
              <a:chOff x="1689321" y="4220983"/>
              <a:chExt cx="4369307" cy="1938010"/>
            </a:xfrm>
          </p:grpSpPr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2307EE79-009F-7F45-ABD0-DD053CBCE2EB}"/>
                  </a:ext>
                </a:extLst>
              </p:cNvPr>
              <p:cNvSpPr/>
              <p:nvPr/>
            </p:nvSpPr>
            <p:spPr>
              <a:xfrm>
                <a:off x="1689321" y="4958664"/>
                <a:ext cx="4115433" cy="120032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dirty="0">
                    <a:solidFill>
                      <a:schemeClr val="bg1"/>
                    </a:solidFill>
                    <a:latin typeface="DINPro-Regular" panose="02000503030000020003" pitchFamily="2" charset="0"/>
                  </a:rPr>
                  <a:t>Местный машинный ринг, Федеральная ассоциация машинных рингов и </a:t>
                </a:r>
                <a:r>
                  <a:rPr lang="de-DE" dirty="0">
                    <a:solidFill>
                      <a:schemeClr val="bg1"/>
                    </a:solidFill>
                    <a:latin typeface="DINPro-Regular" panose="02000503030000020003" pitchFamily="2" charset="0"/>
                  </a:rPr>
                  <a:t>Maschinenringe Deutschland </a:t>
                </a:r>
                <a:r>
                  <a:rPr lang="ru-RU" dirty="0">
                    <a:solidFill>
                      <a:schemeClr val="bg1"/>
                    </a:solidFill>
                    <a:latin typeface="DINPro-Regular" panose="02000503030000020003" pitchFamily="2" charset="0"/>
                  </a:rPr>
                  <a:t>переезжают все вместе в Дом машинных рингов</a:t>
                </a:r>
                <a:r>
                  <a:rPr lang="de-DE" dirty="0">
                    <a:solidFill>
                      <a:schemeClr val="bg1"/>
                    </a:solidFill>
                    <a:latin typeface="DINPro-Regular" panose="02000503030000020003" pitchFamily="2" charset="0"/>
                  </a:rPr>
                  <a:t>.</a:t>
                </a:r>
              </a:p>
            </p:txBody>
          </p:sp>
          <p:sp>
            <p:nvSpPr>
              <p:cNvPr id="18" name="Rechteck 17">
                <a:extLst>
                  <a:ext uri="{FF2B5EF4-FFF2-40B4-BE49-F238E27FC236}">
                    <a16:creationId xmlns:a16="http://schemas.microsoft.com/office/drawing/2014/main" id="{B6921A45-1164-0248-BC99-87B8E322394E}"/>
                  </a:ext>
                </a:extLst>
              </p:cNvPr>
              <p:cNvSpPr/>
              <p:nvPr/>
            </p:nvSpPr>
            <p:spPr>
              <a:xfrm>
                <a:off x="1698794" y="4220983"/>
                <a:ext cx="2350272" cy="769441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r>
                  <a:rPr lang="de-DE" sz="4400" b="1" dirty="0">
                    <a:solidFill>
                      <a:schemeClr val="bg1"/>
                    </a:solidFill>
                    <a:latin typeface="DINPro-Black" panose="02000503030000020004" pitchFamily="2" charset="0"/>
                    <a:ea typeface="DINPro-Black" charset="0"/>
                    <a:cs typeface="DINPro-Black" charset="0"/>
                  </a:rPr>
                  <a:t>2014</a:t>
                </a:r>
              </a:p>
            </p:txBody>
          </p:sp>
          <p:sp>
            <p:nvSpPr>
              <p:cNvPr id="19" name="Freihandform 18">
                <a:extLst>
                  <a:ext uri="{FF2B5EF4-FFF2-40B4-BE49-F238E27FC236}">
                    <a16:creationId xmlns:a16="http://schemas.microsoft.com/office/drawing/2014/main" id="{11663AEE-0299-634C-9E2E-627668B0BC89}"/>
                  </a:ext>
                </a:extLst>
              </p:cNvPr>
              <p:cNvSpPr>
                <a:spLocks/>
              </p:cNvSpPr>
              <p:nvPr/>
            </p:nvSpPr>
            <p:spPr>
              <a:xfrm rot="10800000" flipV="1">
                <a:off x="1776188" y="4828738"/>
                <a:ext cx="4282440" cy="967740"/>
              </a:xfrm>
              <a:custGeom>
                <a:avLst/>
                <a:gdLst>
                  <a:gd name="connsiteX0" fmla="*/ 0 w 4282440"/>
                  <a:gd name="connsiteY0" fmla="*/ 967740 h 967740"/>
                  <a:gd name="connsiteX1" fmla="*/ 967740 w 4282440"/>
                  <a:gd name="connsiteY1" fmla="*/ 0 h 967740"/>
                  <a:gd name="connsiteX2" fmla="*/ 4267200 w 4282440"/>
                  <a:gd name="connsiteY2" fmla="*/ 0 h 967740"/>
                  <a:gd name="connsiteX3" fmla="*/ 4282440 w 4282440"/>
                  <a:gd name="connsiteY3" fmla="*/ 15240 h 967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82440" h="967740">
                    <a:moveTo>
                      <a:pt x="0" y="967740"/>
                    </a:moveTo>
                    <a:lnTo>
                      <a:pt x="967740" y="0"/>
                    </a:lnTo>
                    <a:lnTo>
                      <a:pt x="4267200" y="0"/>
                    </a:lnTo>
                    <a:lnTo>
                      <a:pt x="4282440" y="15240"/>
                    </a:lnTo>
                  </a:path>
                </a:pathLst>
              </a:custGeom>
              <a:noFill/>
              <a:ln w="38100"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7DF0EEE8-D0D3-734C-BD02-D0620759D4EB}"/>
                </a:ext>
              </a:extLst>
            </p:cNvPr>
            <p:cNvSpPr/>
            <p:nvPr/>
          </p:nvSpPr>
          <p:spPr>
            <a:xfrm>
              <a:off x="5857005" y="4530157"/>
              <a:ext cx="454246" cy="45424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A9B5E6D4-14C4-EE41-8ECD-F045A6C94332}"/>
              </a:ext>
            </a:extLst>
          </p:cNvPr>
          <p:cNvGrpSpPr/>
          <p:nvPr/>
        </p:nvGrpSpPr>
        <p:grpSpPr>
          <a:xfrm>
            <a:off x="5868877" y="1783512"/>
            <a:ext cx="6008992" cy="1869669"/>
            <a:chOff x="5868877" y="1956035"/>
            <a:chExt cx="6008992" cy="1869669"/>
          </a:xfrm>
        </p:grpSpPr>
        <p:grpSp>
          <p:nvGrpSpPr>
            <p:cNvPr id="32" name="Gruppierung 20">
              <a:extLst>
                <a:ext uri="{FF2B5EF4-FFF2-40B4-BE49-F238E27FC236}">
                  <a16:creationId xmlns:a16="http://schemas.microsoft.com/office/drawing/2014/main" id="{DD19D046-BD50-7042-9EBD-60175B939119}"/>
                </a:ext>
              </a:extLst>
            </p:cNvPr>
            <p:cNvGrpSpPr/>
            <p:nvPr/>
          </p:nvGrpSpPr>
          <p:grpSpPr>
            <a:xfrm>
              <a:off x="6144911" y="1956035"/>
              <a:ext cx="5732958" cy="1677710"/>
              <a:chOff x="6065520" y="-211383"/>
              <a:chExt cx="4639357" cy="1677710"/>
            </a:xfrm>
          </p:grpSpPr>
          <p:sp>
            <p:nvSpPr>
              <p:cNvPr id="34" name="Rechteck 33">
                <a:extLst>
                  <a:ext uri="{FF2B5EF4-FFF2-40B4-BE49-F238E27FC236}">
                    <a16:creationId xmlns:a16="http://schemas.microsoft.com/office/drawing/2014/main" id="{527B76B3-012D-EB4D-9562-6E44F6BB09F0}"/>
                  </a:ext>
                </a:extLst>
              </p:cNvPr>
              <p:cNvSpPr/>
              <p:nvPr/>
            </p:nvSpPr>
            <p:spPr>
              <a:xfrm>
                <a:off x="6876655" y="542997"/>
                <a:ext cx="3828222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dirty="0">
                    <a:solidFill>
                      <a:schemeClr val="bg1"/>
                    </a:solidFill>
                    <a:latin typeface="DINPro-Regular" panose="02000503030000020003" pitchFamily="2" charset="0"/>
                    <a:ea typeface="DINPro-Regular" charset="0"/>
                    <a:cs typeface="DINPro-Regular" charset="0"/>
                  </a:rPr>
                  <a:t>Переименование созданной в </a:t>
                </a:r>
                <a:r>
                  <a:rPr lang="de-DE" dirty="0">
                    <a:solidFill>
                      <a:schemeClr val="bg1"/>
                    </a:solidFill>
                    <a:latin typeface="DINPro-Regular" panose="02000503030000020003" pitchFamily="2" charset="0"/>
                    <a:ea typeface="DINPro-Regular" charset="0"/>
                    <a:cs typeface="DINPro-Regular" charset="0"/>
                  </a:rPr>
                  <a:t>1996  </a:t>
                </a:r>
                <a:r>
                  <a:rPr lang="ru-RU" dirty="0">
                    <a:solidFill>
                      <a:schemeClr val="bg1"/>
                    </a:solidFill>
                    <a:latin typeface="DINPro-Regular" panose="02000503030000020003" pitchFamily="2" charset="0"/>
                    <a:ea typeface="DINPro-Regular" charset="0"/>
                    <a:cs typeface="DINPro-Regular" charset="0"/>
                  </a:rPr>
                  <a:t>году </a:t>
                </a:r>
                <a:r>
                  <a:rPr lang="de-DE" dirty="0">
                    <a:solidFill>
                      <a:schemeClr val="bg1"/>
                    </a:solidFill>
                    <a:latin typeface="DINPro-Regular" panose="02000503030000020003" pitchFamily="2" charset="0"/>
                    <a:ea typeface="DINPro-Regular" charset="0"/>
                    <a:cs typeface="DINPro-Regular" charset="0"/>
                  </a:rPr>
                  <a:t>„BMR-Service GmbH“ </a:t>
                </a:r>
                <a:br>
                  <a:rPr lang="ru-RU" dirty="0">
                    <a:solidFill>
                      <a:schemeClr val="bg1"/>
                    </a:solidFill>
                    <a:latin typeface="DINPro-Regular" panose="02000503030000020003" pitchFamily="2" charset="0"/>
                    <a:ea typeface="DINPro-Regular" charset="0"/>
                    <a:cs typeface="DINPro-Regular" charset="0"/>
                  </a:rPr>
                </a:br>
                <a:r>
                  <a:rPr lang="ru-RU" dirty="0">
                    <a:solidFill>
                      <a:schemeClr val="bg1"/>
                    </a:solidFill>
                    <a:latin typeface="DINPro-Regular" panose="02000503030000020003" pitchFamily="2" charset="0"/>
                    <a:ea typeface="DINPro-Regular" charset="0"/>
                    <a:cs typeface="DINPro-Regular" charset="0"/>
                  </a:rPr>
                  <a:t>в </a:t>
                </a:r>
                <a:r>
                  <a:rPr lang="de-DE" dirty="0">
                    <a:solidFill>
                      <a:schemeClr val="bg1"/>
                    </a:solidFill>
                    <a:latin typeface="DINPro-Regular" panose="02000503030000020003" pitchFamily="2" charset="0"/>
                    <a:ea typeface="DINPro-Regular" charset="0"/>
                    <a:cs typeface="DINPro-Regular" charset="0"/>
                  </a:rPr>
                  <a:t>„Maschinenringe</a:t>
                </a:r>
                <a:r>
                  <a:rPr lang="ru-RU" dirty="0">
                    <a:solidFill>
                      <a:schemeClr val="bg1"/>
                    </a:solidFill>
                    <a:latin typeface="DINPro-Regular" panose="02000503030000020003" pitchFamily="2" charset="0"/>
                    <a:ea typeface="DINPro-Regular" charset="0"/>
                    <a:cs typeface="DINPro-Regular" charset="0"/>
                  </a:rPr>
                  <a:t> </a:t>
                </a:r>
                <a:r>
                  <a:rPr lang="de-DE" dirty="0">
                    <a:solidFill>
                      <a:schemeClr val="bg1"/>
                    </a:solidFill>
                    <a:latin typeface="DINPro-Regular" panose="02000503030000020003" pitchFamily="2" charset="0"/>
                    <a:ea typeface="DINPro-Regular" charset="0"/>
                    <a:cs typeface="DINPro-Regular" charset="0"/>
                  </a:rPr>
                  <a:t>Deutschland GmbH“</a:t>
                </a:r>
              </a:p>
            </p:txBody>
          </p:sp>
          <p:sp>
            <p:nvSpPr>
              <p:cNvPr id="36" name="Rechteck 35">
                <a:extLst>
                  <a:ext uri="{FF2B5EF4-FFF2-40B4-BE49-F238E27FC236}">
                    <a16:creationId xmlns:a16="http://schemas.microsoft.com/office/drawing/2014/main" id="{BED380F0-B323-5C44-AFC5-96C5CAE14329}"/>
                  </a:ext>
                </a:extLst>
              </p:cNvPr>
              <p:cNvSpPr/>
              <p:nvPr/>
            </p:nvSpPr>
            <p:spPr>
              <a:xfrm>
                <a:off x="8124806" y="-211383"/>
                <a:ext cx="2350272" cy="769441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algn="r"/>
                <a:r>
                  <a:rPr lang="de-DE" sz="4400" b="1" dirty="0">
                    <a:solidFill>
                      <a:schemeClr val="bg1"/>
                    </a:solidFill>
                    <a:latin typeface="DINPro-Black" panose="02000503030000020004" pitchFamily="2" charset="0"/>
                    <a:ea typeface="DINPro-Black" charset="0"/>
                    <a:cs typeface="DINPro-Black" charset="0"/>
                  </a:rPr>
                  <a:t>2007</a:t>
                </a:r>
              </a:p>
            </p:txBody>
          </p:sp>
          <p:sp>
            <p:nvSpPr>
              <p:cNvPr id="37" name="Freihandform 36">
                <a:extLst>
                  <a:ext uri="{FF2B5EF4-FFF2-40B4-BE49-F238E27FC236}">
                    <a16:creationId xmlns:a16="http://schemas.microsoft.com/office/drawing/2014/main" id="{10D1C14C-4F3A-D640-A3B0-6EBC6EB1B140}"/>
                  </a:ext>
                </a:extLst>
              </p:cNvPr>
              <p:cNvSpPr/>
              <p:nvPr/>
            </p:nvSpPr>
            <p:spPr>
              <a:xfrm>
                <a:off x="6065520" y="440921"/>
                <a:ext cx="4282440" cy="967740"/>
              </a:xfrm>
              <a:custGeom>
                <a:avLst/>
                <a:gdLst>
                  <a:gd name="connsiteX0" fmla="*/ 0 w 4282440"/>
                  <a:gd name="connsiteY0" fmla="*/ 967740 h 967740"/>
                  <a:gd name="connsiteX1" fmla="*/ 967740 w 4282440"/>
                  <a:gd name="connsiteY1" fmla="*/ 0 h 967740"/>
                  <a:gd name="connsiteX2" fmla="*/ 4267200 w 4282440"/>
                  <a:gd name="connsiteY2" fmla="*/ 0 h 967740"/>
                  <a:gd name="connsiteX3" fmla="*/ 4282440 w 4282440"/>
                  <a:gd name="connsiteY3" fmla="*/ 15240 h 967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82440" h="967740">
                    <a:moveTo>
                      <a:pt x="0" y="967740"/>
                    </a:moveTo>
                    <a:lnTo>
                      <a:pt x="967740" y="0"/>
                    </a:lnTo>
                    <a:lnTo>
                      <a:pt x="4267200" y="0"/>
                    </a:lnTo>
                    <a:lnTo>
                      <a:pt x="4282440" y="15240"/>
                    </a:lnTo>
                  </a:path>
                </a:pathLst>
              </a:custGeom>
              <a:noFill/>
              <a:ln w="38100">
                <a:solidFill>
                  <a:schemeClr val="bg1">
                    <a:alpha val="3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107CB9EC-F98C-6C4A-A9C5-A1FA4E25238D}"/>
                </a:ext>
              </a:extLst>
            </p:cNvPr>
            <p:cNvSpPr/>
            <p:nvPr/>
          </p:nvSpPr>
          <p:spPr>
            <a:xfrm>
              <a:off x="5868877" y="3371458"/>
              <a:ext cx="454246" cy="45424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1933264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Gras, draußen, Gebäude, Feld enthält.&#10;&#10;Automatisch generierte Beschreibung">
            <a:extLst>
              <a:ext uri="{FF2B5EF4-FFF2-40B4-BE49-F238E27FC236}">
                <a16:creationId xmlns:a16="http://schemas.microsoft.com/office/drawing/2014/main" id="{12EE9B4B-1A26-8F4E-9361-096CF1F636F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17" t="8460" b="7644"/>
          <a:stretch/>
        </p:blipFill>
        <p:spPr>
          <a:xfrm>
            <a:off x="-978454" y="-775252"/>
            <a:ext cx="14347687" cy="8070574"/>
          </a:xfrm>
          <a:prstGeom prst="rect">
            <a:avLst/>
          </a:prstGeom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D3C070CD-1F0B-6147-8D73-33AF7E45C3C2}"/>
              </a:ext>
            </a:extLst>
          </p:cNvPr>
          <p:cNvSpPr txBox="1">
            <a:spLocks/>
          </p:cNvSpPr>
          <p:nvPr/>
        </p:nvSpPr>
        <p:spPr>
          <a:xfrm>
            <a:off x="740227" y="123458"/>
            <a:ext cx="10287001" cy="113928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ts val="3080"/>
              </a:lnSpc>
            </a:pPr>
            <a:r>
              <a:rPr lang="ru-RU" sz="2400" dirty="0">
                <a:solidFill>
                  <a:srgbClr val="414140"/>
                </a:solidFill>
                <a:latin typeface="DINPro-Black" panose="02000503030000020004" pitchFamily="2" charset="0"/>
              </a:rPr>
              <a:t>Дом товариществ по совместному использованию сельхозтехники</a:t>
            </a:r>
            <a:br>
              <a:rPr lang="de-DE" sz="2400" b="1" dirty="0">
                <a:solidFill>
                  <a:schemeClr val="bg1"/>
                </a:solidFill>
                <a:latin typeface="DINPro-Black" panose="02000503030000020004" pitchFamily="2" charset="0"/>
              </a:rPr>
            </a:br>
            <a:r>
              <a:rPr lang="de-DE" sz="2400" b="1" dirty="0">
                <a:solidFill>
                  <a:srgbClr val="65B32E"/>
                </a:solidFill>
                <a:latin typeface="DINPro-Black" panose="02000503030000020004" pitchFamily="2" charset="0"/>
              </a:rPr>
              <a:t>Maschinenringe Deutschland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4C2B13D-6064-414D-AD8A-48FC6937F4E8}"/>
              </a:ext>
            </a:extLst>
          </p:cNvPr>
          <p:cNvSpPr txBox="1">
            <a:spLocks/>
          </p:cNvSpPr>
          <p:nvPr/>
        </p:nvSpPr>
        <p:spPr>
          <a:xfrm>
            <a:off x="740227" y="2267462"/>
            <a:ext cx="10459453" cy="23876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4280"/>
              </a:lnSpc>
            </a:pPr>
            <a:r>
              <a:rPr lang="ru-RU" sz="4400" dirty="0">
                <a:solidFill>
                  <a:srgbClr val="65B32E"/>
                </a:solidFill>
                <a:latin typeface="DINPro-Black" panose="02000503030000020003" pitchFamily="2" charset="0"/>
              </a:rPr>
              <a:t>Мы трудимся на благо </a:t>
            </a:r>
            <a:br>
              <a:rPr lang="ru-RU" sz="4400" dirty="0">
                <a:solidFill>
                  <a:srgbClr val="65B32E"/>
                </a:solidFill>
                <a:latin typeface="DINPro-Black" panose="02000503030000020003" pitchFamily="2" charset="0"/>
              </a:rPr>
            </a:br>
            <a:r>
              <a:rPr lang="ru-RU" sz="4400" dirty="0">
                <a:solidFill>
                  <a:srgbClr val="65B32E"/>
                </a:solidFill>
                <a:latin typeface="DINPro-Black" panose="02000503030000020003" pitchFamily="2" charset="0"/>
              </a:rPr>
              <a:t>самой важной </a:t>
            </a:r>
            <a:br>
              <a:rPr lang="ru-RU" sz="4400" dirty="0">
                <a:solidFill>
                  <a:srgbClr val="65B32E"/>
                </a:solidFill>
                <a:latin typeface="DINPro-Black" panose="02000503030000020003" pitchFamily="2" charset="0"/>
              </a:rPr>
            </a:br>
            <a:r>
              <a:rPr lang="ru-RU" sz="4400" dirty="0">
                <a:solidFill>
                  <a:srgbClr val="65B32E"/>
                </a:solidFill>
                <a:latin typeface="DINPro-Black" panose="02000503030000020003" pitchFamily="2" charset="0"/>
              </a:rPr>
              <a:t>на свете профессии</a:t>
            </a:r>
            <a:r>
              <a:rPr lang="de-DE" sz="4400" dirty="0">
                <a:solidFill>
                  <a:srgbClr val="65B32E"/>
                </a:solidFill>
                <a:latin typeface="DINPro-Black" panose="02000503030000020003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589200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62YBno0R0uIIEJ6Jpaa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oF12R8JUECLFo55y_yl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kLy9cvCUCd0U.N2Br4mg"/>
</p:tagLst>
</file>

<file path=ppt/theme/theme1.xml><?xml version="1.0" encoding="utf-8"?>
<a:theme xmlns:a="http://schemas.openxmlformats.org/drawingml/2006/main" name="Office">
  <a:themeElements>
    <a:clrScheme name="Maschinenring Farben">
      <a:dk1>
        <a:srgbClr val="494949"/>
      </a:dk1>
      <a:lt1>
        <a:srgbClr val="FFFFFF"/>
      </a:lt1>
      <a:dk2>
        <a:srgbClr val="494949"/>
      </a:dk2>
      <a:lt2>
        <a:srgbClr val="65B32E"/>
      </a:lt2>
      <a:accent1>
        <a:srgbClr val="494949"/>
      </a:accent1>
      <a:accent2>
        <a:srgbClr val="78787E"/>
      </a:accent2>
      <a:accent3>
        <a:srgbClr val="65AE2B"/>
      </a:accent3>
      <a:accent4>
        <a:srgbClr val="494949"/>
      </a:accent4>
      <a:accent5>
        <a:srgbClr val="78787E"/>
      </a:accent5>
      <a:accent6>
        <a:srgbClr val="65AE2B"/>
      </a:accent6>
      <a:hlink>
        <a:srgbClr val="494949"/>
      </a:hlink>
      <a:folHlink>
        <a:srgbClr val="49494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2" id="{E2F1FF9D-C368-044C-8061-43696EE5A595}" vid="{2B42ADFA-F90F-3F40-B0D2-8F04A4BFFB3E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</Template>
  <TotalTime>0</TotalTime>
  <Words>1280</Words>
  <Application>Microsoft Office PowerPoint</Application>
  <PresentationFormat>Breitbild</PresentationFormat>
  <Paragraphs>204</Paragraphs>
  <Slides>32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2</vt:i4>
      </vt:variant>
    </vt:vector>
  </HeadingPairs>
  <TitlesOfParts>
    <vt:vector size="38" baseType="lpstr">
      <vt:lpstr>Wingdings</vt:lpstr>
      <vt:lpstr>DINPro-Black</vt:lpstr>
      <vt:lpstr>DINPro-Regular</vt:lpstr>
      <vt:lpstr>Calibri</vt:lpstr>
      <vt:lpstr>Arial</vt:lpstr>
      <vt:lpstr>Office</vt:lpstr>
      <vt:lpstr>Машинные ринги в Германии: Сообщества по совместному использованию сельхозтехники</vt:lpstr>
      <vt:lpstr>PowerPoint-Präsentation</vt:lpstr>
      <vt:lpstr>О НАС</vt:lpstr>
      <vt:lpstr>AGENDA</vt:lpstr>
      <vt:lpstr>PowerPoint-Präsentation</vt:lpstr>
      <vt:lpstr>Идея основателЯ</vt:lpstr>
      <vt:lpstr>PowerPoint-Präsentation</vt:lpstr>
      <vt:lpstr>PowerPoint-Präsentation</vt:lpstr>
      <vt:lpstr>PowerPoint-Präsentation</vt:lpstr>
      <vt:lpstr>ОБСУЖДЕНИЕ СИСТЕМ</vt:lpstr>
      <vt:lpstr>PowerPoint-Präsentation</vt:lpstr>
      <vt:lpstr>КАК это работает</vt:lpstr>
      <vt:lpstr>КАК это работает</vt:lpstr>
      <vt:lpstr>Расширение спектра посреднических  услуг</vt:lpstr>
      <vt:lpstr>ФИНАНСИРОВАНИЕ</vt:lpstr>
      <vt:lpstr>ГОСПОддержка</vt:lpstr>
      <vt:lpstr>ПРАВОВАЯ ФОРМА</vt:lpstr>
      <vt:lpstr>ВАРИАНТЫ</vt:lpstr>
      <vt:lpstr>ТЕКУЩЕЕ СОСТОЯНИЕ</vt:lpstr>
      <vt:lpstr>PowerPoint-Präsentation</vt:lpstr>
      <vt:lpstr> </vt:lpstr>
      <vt:lpstr>ЕВРОПА</vt:lpstr>
      <vt:lpstr>СТРУКТУРА</vt:lpstr>
      <vt:lpstr>Журнал «Maschinenring» </vt:lpstr>
      <vt:lpstr>аКАДЕМИЯ</vt:lpstr>
      <vt:lpstr>ДЕЦЕНТРАЛИЗОВАННЫЕ И ЦЕНТРАЛИЗОВАННЫЕ экономические подразделения</vt:lpstr>
      <vt:lpstr>ДЕЦЕНТРАЛИЗОВАННЫЕ И ЦЕНТРАЛИЗОВАННЫЕ экономические подразделения</vt:lpstr>
      <vt:lpstr>ВсЁ объединено в единую сеть  НА СПРАВЕДЛИВЫХ НАЧАЛАХ (#FAIRNETZT)</vt:lpstr>
      <vt:lpstr>ПЕРСПЕКТИВЫ</vt:lpstr>
      <vt:lpstr>ПЕРСПЕКТИВЫ</vt:lpstr>
      <vt:lpstr>Корпоративная социальная ответственность (CSR) – сотрудничество в целях развития</vt:lpstr>
      <vt:lpstr>Желаете получить дополнительную информацию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meinschaft  der Maschinenringe</dc:title>
  <dc:creator>Fehringer, Corinna | Maschinenring</dc:creator>
  <cp:lastModifiedBy>Biketova, Oxana | Maschinenring</cp:lastModifiedBy>
  <cp:revision>94</cp:revision>
  <dcterms:created xsi:type="dcterms:W3CDTF">2021-06-23T08:07:04Z</dcterms:created>
  <dcterms:modified xsi:type="dcterms:W3CDTF">2021-06-24T13:50:32Z</dcterms:modified>
</cp:coreProperties>
</file>